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 bookmarkIdSeed="2">
  <p:sldMasterIdLst>
    <p:sldMasterId id="2147483648" r:id="rId4"/>
  </p:sldMasterIdLst>
  <p:notesMasterIdLst>
    <p:notesMasterId r:id="rId24"/>
  </p:notesMasterIdLst>
  <p:sldIdLst>
    <p:sldId id="257" r:id="rId5"/>
    <p:sldId id="288" r:id="rId6"/>
    <p:sldId id="295" r:id="rId7"/>
    <p:sldId id="302" r:id="rId8"/>
    <p:sldId id="303" r:id="rId9"/>
    <p:sldId id="304" r:id="rId10"/>
    <p:sldId id="305" r:id="rId11"/>
    <p:sldId id="316" r:id="rId12"/>
    <p:sldId id="317" r:id="rId13"/>
    <p:sldId id="311" r:id="rId14"/>
    <p:sldId id="312" r:id="rId15"/>
    <p:sldId id="313" r:id="rId16"/>
    <p:sldId id="320" r:id="rId17"/>
    <p:sldId id="319" r:id="rId18"/>
    <p:sldId id="307" r:id="rId19"/>
    <p:sldId id="308" r:id="rId20"/>
    <p:sldId id="310" r:id="rId21"/>
    <p:sldId id="321" r:id="rId22"/>
    <p:sldId id="294" r:id="rId23"/>
  </p:sldIdLst>
  <p:sldSz cx="12192000" cy="6858000"/>
  <p:notesSz cx="6858000" cy="9144000"/>
  <p:embeddedFontLst>
    <p:embeddedFont>
      <p:font typeface="Franklin Gothic Medium" panose="020B0603020102020204" pitchFamily="34" charset="0"/>
      <p:regular r:id="rId25"/>
      <p:italic r:id="rId26"/>
    </p:embeddedFont>
    <p:embeddedFont>
      <p:font typeface="Helvetica Neue" panose="020B0604020202020204" charset="0"/>
      <p:regular r:id="rId27"/>
      <p:bold r:id="rId28"/>
      <p:italic r:id="rId29"/>
      <p:boldItalic r:id="rId30"/>
    </p:embeddedFont>
    <p:embeddedFont>
      <p:font typeface="Poppins" panose="00000500000000000000" pitchFamily="2" charset="0"/>
      <p:regular r:id="rId31"/>
      <p:bold r:id="rId32"/>
      <p:italic r:id="rId33"/>
      <p:boldItalic r:id="rId34"/>
    </p:embeddedFont>
    <p:embeddedFont>
      <p:font typeface="Raleway Light" pitchFamily="2" charset="0"/>
      <p:regular r:id="rId35"/>
      <p:italic r:id="rId36"/>
    </p:embeddedFont>
  </p:embeddedFontLst>
  <p:custDataLst>
    <p:tags r:id="rId3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5" roundtripDataSignature="AMtx7mhA2EHEGTwJEagQjan2jW9RlcbME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C3CC"/>
    <a:srgbClr val="F7F7F7"/>
    <a:srgbClr val="47A7D4"/>
    <a:srgbClr val="5CA47A"/>
    <a:srgbClr val="A5D3B6"/>
    <a:srgbClr val="CFE7D8"/>
    <a:srgbClr val="406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2.fntdata"/><Relationship Id="rId21" Type="http://schemas.openxmlformats.org/officeDocument/2006/relationships/slide" Target="slides/slide17.xml"/><Relationship Id="rId34" Type="http://schemas.openxmlformats.org/officeDocument/2006/relationships/font" Target="fonts/font10.fntdata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tags" Target="tags/tag1.xml"/><Relationship Id="rId45" Type="http://customschemas.google.com/relationships/presentationmetadata" Target="meta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46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luisa Pes" userId="2e7d9df5-0575-4dcc-80e5-bc0bfe81a8c2" providerId="ADAL" clId="{C9A9C79F-6FFA-4639-BCB7-AD4B14E4E079}"/>
    <pc:docChg chg="modSld">
      <pc:chgData name="Marialuisa Pes" userId="2e7d9df5-0575-4dcc-80e5-bc0bfe81a8c2" providerId="ADAL" clId="{C9A9C79F-6FFA-4639-BCB7-AD4B14E4E079}" dt="2023-07-03T13:45:43.944" v="35" actId="20577"/>
      <pc:docMkLst>
        <pc:docMk/>
      </pc:docMkLst>
      <pc:sldChg chg="modSp mod">
        <pc:chgData name="Marialuisa Pes" userId="2e7d9df5-0575-4dcc-80e5-bc0bfe81a8c2" providerId="ADAL" clId="{C9A9C79F-6FFA-4639-BCB7-AD4B14E4E079}" dt="2023-07-03T13:45:43.944" v="35" actId="20577"/>
        <pc:sldMkLst>
          <pc:docMk/>
          <pc:sldMk cId="2741662400" sldId="304"/>
        </pc:sldMkLst>
        <pc:spChg chg="mod">
          <ac:chgData name="Marialuisa Pes" userId="2e7d9df5-0575-4dcc-80e5-bc0bfe81a8c2" providerId="ADAL" clId="{C9A9C79F-6FFA-4639-BCB7-AD4B14E4E079}" dt="2023-07-03T13:45:43.944" v="35" actId="20577"/>
          <ac:spMkLst>
            <pc:docMk/>
            <pc:sldMk cId="2741662400" sldId="304"/>
            <ac:spMk id="17" creationId="{1F98B5D1-3C6E-5E75-690A-9240414B3E3B}"/>
          </ac:spMkLst>
        </pc:spChg>
      </pc:sldChg>
    </pc:docChg>
  </pc:docChgLst>
  <pc:docChgLst>
    <pc:chgData name="Marialuisa Pes" userId="2e7d9df5-0575-4dcc-80e5-bc0bfe81a8c2" providerId="ADAL" clId="{88F13EAA-32F8-4822-B305-7A3FCD7593DE}"/>
    <pc:docChg chg="undo custSel addSld delSld modSld">
      <pc:chgData name="Marialuisa Pes" userId="2e7d9df5-0575-4dcc-80e5-bc0bfe81a8c2" providerId="ADAL" clId="{88F13EAA-32F8-4822-B305-7A3FCD7593DE}" dt="2023-05-26T11:28:57.410" v="1763"/>
      <pc:docMkLst>
        <pc:docMk/>
      </pc:docMkLst>
      <pc:sldChg chg="modSp mod">
        <pc:chgData name="Marialuisa Pes" userId="2e7d9df5-0575-4dcc-80e5-bc0bfe81a8c2" providerId="ADAL" clId="{88F13EAA-32F8-4822-B305-7A3FCD7593DE}" dt="2023-05-12T12:08:29.618" v="12" actId="5793"/>
        <pc:sldMkLst>
          <pc:docMk/>
          <pc:sldMk cId="4115728104" sldId="288"/>
        </pc:sldMkLst>
        <pc:spChg chg="mod">
          <ac:chgData name="Marialuisa Pes" userId="2e7d9df5-0575-4dcc-80e5-bc0bfe81a8c2" providerId="ADAL" clId="{88F13EAA-32F8-4822-B305-7A3FCD7593DE}" dt="2023-05-12T12:08:29.618" v="12" actId="5793"/>
          <ac:spMkLst>
            <pc:docMk/>
            <pc:sldMk cId="4115728104" sldId="288"/>
            <ac:spMk id="5" creationId="{C16F7659-7F26-384A-B79D-1218428BBFFE}"/>
          </ac:spMkLst>
        </pc:spChg>
      </pc:sldChg>
      <pc:sldChg chg="addSp modSp mod">
        <pc:chgData name="Marialuisa Pes" userId="2e7d9df5-0575-4dcc-80e5-bc0bfe81a8c2" providerId="ADAL" clId="{88F13EAA-32F8-4822-B305-7A3FCD7593DE}" dt="2023-05-22T15:31:41.382" v="1474" actId="255"/>
        <pc:sldMkLst>
          <pc:docMk/>
          <pc:sldMk cId="3442962960" sldId="294"/>
        </pc:sldMkLst>
        <pc:spChg chg="add mod">
          <ac:chgData name="Marialuisa Pes" userId="2e7d9df5-0575-4dcc-80e5-bc0bfe81a8c2" providerId="ADAL" clId="{88F13EAA-32F8-4822-B305-7A3FCD7593DE}" dt="2023-05-18T13:17:17.059" v="1439" actId="122"/>
          <ac:spMkLst>
            <pc:docMk/>
            <pc:sldMk cId="3442962960" sldId="294"/>
            <ac:spMk id="2" creationId="{472B791B-5E16-2BDA-A2F8-7569CB07AF99}"/>
          </ac:spMkLst>
        </pc:spChg>
        <pc:spChg chg="mod">
          <ac:chgData name="Marialuisa Pes" userId="2e7d9df5-0575-4dcc-80e5-bc0bfe81a8c2" providerId="ADAL" clId="{88F13EAA-32F8-4822-B305-7A3FCD7593DE}" dt="2023-05-22T15:31:41.382" v="1474" actId="255"/>
          <ac:spMkLst>
            <pc:docMk/>
            <pc:sldMk cId="3442962960" sldId="294"/>
            <ac:spMk id="4" creationId="{CF5BD1F7-E378-BB4A-8677-781102B268C6}"/>
          </ac:spMkLst>
        </pc:spChg>
      </pc:sldChg>
      <pc:sldChg chg="addSp delSp modSp mod">
        <pc:chgData name="Marialuisa Pes" userId="2e7d9df5-0575-4dcc-80e5-bc0bfe81a8c2" providerId="ADAL" clId="{88F13EAA-32F8-4822-B305-7A3FCD7593DE}" dt="2023-05-22T09:47:14.293" v="1465" actId="1076"/>
        <pc:sldMkLst>
          <pc:docMk/>
          <pc:sldMk cId="1161208923" sldId="295"/>
        </pc:sldMkLst>
        <pc:spChg chg="add mod">
          <ac:chgData name="Marialuisa Pes" userId="2e7d9df5-0575-4dcc-80e5-bc0bfe81a8c2" providerId="ADAL" clId="{88F13EAA-32F8-4822-B305-7A3FCD7593DE}" dt="2023-05-22T09:46:10.631" v="1445" actId="1076"/>
          <ac:spMkLst>
            <pc:docMk/>
            <pc:sldMk cId="1161208923" sldId="295"/>
            <ac:spMk id="5" creationId="{D14589F4-BA3B-2E87-3BB9-BB680D1F9EB4}"/>
          </ac:spMkLst>
        </pc:spChg>
        <pc:spChg chg="add del mod">
          <ac:chgData name="Marialuisa Pes" userId="2e7d9df5-0575-4dcc-80e5-bc0bfe81a8c2" providerId="ADAL" clId="{88F13EAA-32F8-4822-B305-7A3FCD7593DE}" dt="2023-05-22T09:46:37.052" v="1457" actId="478"/>
          <ac:spMkLst>
            <pc:docMk/>
            <pc:sldMk cId="1161208923" sldId="295"/>
            <ac:spMk id="6" creationId="{8E01867C-B083-BFDB-8222-C4C2E1D83D16}"/>
          </ac:spMkLst>
        </pc:spChg>
        <pc:spChg chg="mod">
          <ac:chgData name="Marialuisa Pes" userId="2e7d9df5-0575-4dcc-80e5-bc0bfe81a8c2" providerId="ADAL" clId="{88F13EAA-32F8-4822-B305-7A3FCD7593DE}" dt="2023-05-12T12:03:31.132" v="7" actId="20577"/>
          <ac:spMkLst>
            <pc:docMk/>
            <pc:sldMk cId="1161208923" sldId="295"/>
            <ac:spMk id="8" creationId="{5F354B7F-4CFD-4990-24EB-B7A7C962A2E2}"/>
          </ac:spMkLst>
        </pc:spChg>
        <pc:spChg chg="add mod">
          <ac:chgData name="Marialuisa Pes" userId="2e7d9df5-0575-4dcc-80e5-bc0bfe81a8c2" providerId="ADAL" clId="{88F13EAA-32F8-4822-B305-7A3FCD7593DE}" dt="2023-05-22T09:47:00.766" v="1461" actId="207"/>
          <ac:spMkLst>
            <pc:docMk/>
            <pc:sldMk cId="1161208923" sldId="295"/>
            <ac:spMk id="9" creationId="{1FF94877-4547-6C03-787C-26F063BA9F90}"/>
          </ac:spMkLst>
        </pc:spChg>
        <pc:picChg chg="mod">
          <ac:chgData name="Marialuisa Pes" userId="2e7d9df5-0575-4dcc-80e5-bc0bfe81a8c2" providerId="ADAL" clId="{88F13EAA-32F8-4822-B305-7A3FCD7593DE}" dt="2023-05-22T09:46:28.128" v="1455" actId="1076"/>
          <ac:picMkLst>
            <pc:docMk/>
            <pc:sldMk cId="1161208923" sldId="295"/>
            <ac:picMk id="7" creationId="{45E68834-C1F2-0666-171D-FA9E17E25D13}"/>
          </ac:picMkLst>
        </pc:picChg>
        <pc:picChg chg="add mod">
          <ac:chgData name="Marialuisa Pes" userId="2e7d9df5-0575-4dcc-80e5-bc0bfe81a8c2" providerId="ADAL" clId="{88F13EAA-32F8-4822-B305-7A3FCD7593DE}" dt="2023-05-22T09:47:07.683" v="1463" actId="1076"/>
          <ac:picMkLst>
            <pc:docMk/>
            <pc:sldMk cId="1161208923" sldId="295"/>
            <ac:picMk id="10" creationId="{7327D8A2-4F32-6BCD-41F1-37F898DDA691}"/>
          </ac:picMkLst>
        </pc:picChg>
        <pc:picChg chg="add mod">
          <ac:chgData name="Marialuisa Pes" userId="2e7d9df5-0575-4dcc-80e5-bc0bfe81a8c2" providerId="ADAL" clId="{88F13EAA-32F8-4822-B305-7A3FCD7593DE}" dt="2023-05-22T09:47:14.293" v="1465" actId="1076"/>
          <ac:picMkLst>
            <pc:docMk/>
            <pc:sldMk cId="1161208923" sldId="295"/>
            <ac:picMk id="11" creationId="{D9BACA39-EDF0-67F6-DFD5-B68E423BDD6B}"/>
          </ac:picMkLst>
        </pc:picChg>
      </pc:sldChg>
      <pc:sldChg chg="modSp mod">
        <pc:chgData name="Marialuisa Pes" userId="2e7d9df5-0575-4dcc-80e5-bc0bfe81a8c2" providerId="ADAL" clId="{88F13EAA-32F8-4822-B305-7A3FCD7593DE}" dt="2023-05-12T09:29:02.870" v="1" actId="1076"/>
        <pc:sldMkLst>
          <pc:docMk/>
          <pc:sldMk cId="3624660289" sldId="302"/>
        </pc:sldMkLst>
        <pc:spChg chg="mod">
          <ac:chgData name="Marialuisa Pes" userId="2e7d9df5-0575-4dcc-80e5-bc0bfe81a8c2" providerId="ADAL" clId="{88F13EAA-32F8-4822-B305-7A3FCD7593DE}" dt="2023-05-12T09:29:02.870" v="1" actId="1076"/>
          <ac:spMkLst>
            <pc:docMk/>
            <pc:sldMk cId="3624660289" sldId="302"/>
            <ac:spMk id="8" creationId="{5F354B7F-4CFD-4990-24EB-B7A7C962A2E2}"/>
          </ac:spMkLst>
        </pc:spChg>
      </pc:sldChg>
      <pc:sldChg chg="modSp mod">
        <pc:chgData name="Marialuisa Pes" userId="2e7d9df5-0575-4dcc-80e5-bc0bfe81a8c2" providerId="ADAL" clId="{88F13EAA-32F8-4822-B305-7A3FCD7593DE}" dt="2023-05-26T11:26:08.488" v="1742" actId="20578"/>
        <pc:sldMkLst>
          <pc:docMk/>
          <pc:sldMk cId="2741662400" sldId="304"/>
        </pc:sldMkLst>
        <pc:spChg chg="mod">
          <ac:chgData name="Marialuisa Pes" userId="2e7d9df5-0575-4dcc-80e5-bc0bfe81a8c2" providerId="ADAL" clId="{88F13EAA-32F8-4822-B305-7A3FCD7593DE}" dt="2023-05-26T11:26:08.488" v="1742" actId="20578"/>
          <ac:spMkLst>
            <pc:docMk/>
            <pc:sldMk cId="2741662400" sldId="304"/>
            <ac:spMk id="17" creationId="{1F98B5D1-3C6E-5E75-690A-9240414B3E3B}"/>
          </ac:spMkLst>
        </pc:spChg>
      </pc:sldChg>
      <pc:sldChg chg="modSp mod">
        <pc:chgData name="Marialuisa Pes" userId="2e7d9df5-0575-4dcc-80e5-bc0bfe81a8c2" providerId="ADAL" clId="{88F13EAA-32F8-4822-B305-7A3FCD7593DE}" dt="2023-05-12T12:21:24.423" v="1047" actId="1076"/>
        <pc:sldMkLst>
          <pc:docMk/>
          <pc:sldMk cId="1120800712" sldId="307"/>
        </pc:sldMkLst>
        <pc:spChg chg="mod">
          <ac:chgData name="Marialuisa Pes" userId="2e7d9df5-0575-4dcc-80e5-bc0bfe81a8c2" providerId="ADAL" clId="{88F13EAA-32F8-4822-B305-7A3FCD7593DE}" dt="2023-05-12T12:21:24.423" v="1047" actId="1076"/>
          <ac:spMkLst>
            <pc:docMk/>
            <pc:sldMk cId="1120800712" sldId="307"/>
            <ac:spMk id="4" creationId="{BAB44A8A-4077-D6B8-D8D4-E4B77DA1F21B}"/>
          </ac:spMkLst>
        </pc:spChg>
      </pc:sldChg>
      <pc:sldChg chg="addSp modSp mod">
        <pc:chgData name="Marialuisa Pes" userId="2e7d9df5-0575-4dcc-80e5-bc0bfe81a8c2" providerId="ADAL" clId="{88F13EAA-32F8-4822-B305-7A3FCD7593DE}" dt="2023-05-12T12:24:36.916" v="1218" actId="1037"/>
        <pc:sldMkLst>
          <pc:docMk/>
          <pc:sldMk cId="1452674175" sldId="308"/>
        </pc:sldMkLst>
        <pc:spChg chg="add mod">
          <ac:chgData name="Marialuisa Pes" userId="2e7d9df5-0575-4dcc-80e5-bc0bfe81a8c2" providerId="ADAL" clId="{88F13EAA-32F8-4822-B305-7A3FCD7593DE}" dt="2023-05-12T12:22:52.944" v="1130" actId="14100"/>
          <ac:spMkLst>
            <pc:docMk/>
            <pc:sldMk cId="1452674175" sldId="308"/>
            <ac:spMk id="2" creationId="{4689E574-5B78-68B4-3129-4358D2FDF957}"/>
          </ac:spMkLst>
        </pc:spChg>
        <pc:spChg chg="mod">
          <ac:chgData name="Marialuisa Pes" userId="2e7d9df5-0575-4dcc-80e5-bc0bfe81a8c2" providerId="ADAL" clId="{88F13EAA-32F8-4822-B305-7A3FCD7593DE}" dt="2023-05-12T12:23:33.725" v="1212" actId="20577"/>
          <ac:spMkLst>
            <pc:docMk/>
            <pc:sldMk cId="1452674175" sldId="308"/>
            <ac:spMk id="8" creationId="{BF976D8C-CE83-19E9-94FB-35352491BF48}"/>
          </ac:spMkLst>
        </pc:spChg>
        <pc:spChg chg="mod">
          <ac:chgData name="Marialuisa Pes" userId="2e7d9df5-0575-4dcc-80e5-bc0bfe81a8c2" providerId="ADAL" clId="{88F13EAA-32F8-4822-B305-7A3FCD7593DE}" dt="2023-05-12T12:24:36.916" v="1218" actId="1037"/>
          <ac:spMkLst>
            <pc:docMk/>
            <pc:sldMk cId="1452674175" sldId="308"/>
            <ac:spMk id="10" creationId="{12CD8160-56EF-CC94-D076-EDBE8A1C7DE8}"/>
          </ac:spMkLst>
        </pc:spChg>
      </pc:sldChg>
      <pc:sldChg chg="modSp mod">
        <pc:chgData name="Marialuisa Pes" userId="2e7d9df5-0575-4dcc-80e5-bc0bfe81a8c2" providerId="ADAL" clId="{88F13EAA-32F8-4822-B305-7A3FCD7593DE}" dt="2023-05-12T09:29:32.640" v="2" actId="20577"/>
        <pc:sldMkLst>
          <pc:docMk/>
          <pc:sldMk cId="2313439536" sldId="316"/>
        </pc:sldMkLst>
        <pc:spChg chg="mod">
          <ac:chgData name="Marialuisa Pes" userId="2e7d9df5-0575-4dcc-80e5-bc0bfe81a8c2" providerId="ADAL" clId="{88F13EAA-32F8-4822-B305-7A3FCD7593DE}" dt="2023-05-12T09:29:32.640" v="2" actId="20577"/>
          <ac:spMkLst>
            <pc:docMk/>
            <pc:sldMk cId="2313439536" sldId="316"/>
            <ac:spMk id="15" creationId="{4235CC9A-5CF6-500A-FA1E-4AED01FC94E2}"/>
          </ac:spMkLst>
        </pc:spChg>
      </pc:sldChg>
      <pc:sldChg chg="del">
        <pc:chgData name="Marialuisa Pes" userId="2e7d9df5-0575-4dcc-80e5-bc0bfe81a8c2" providerId="ADAL" clId="{88F13EAA-32F8-4822-B305-7A3FCD7593DE}" dt="2023-05-12T12:24:16.303" v="1214" actId="47"/>
        <pc:sldMkLst>
          <pc:docMk/>
          <pc:sldMk cId="1116796152" sldId="318"/>
        </pc:sldMkLst>
      </pc:sldChg>
      <pc:sldChg chg="modSp mod">
        <pc:chgData name="Marialuisa Pes" userId="2e7d9df5-0575-4dcc-80e5-bc0bfe81a8c2" providerId="ADAL" clId="{88F13EAA-32F8-4822-B305-7A3FCD7593DE}" dt="2023-05-26T11:28:44.624" v="1761" actId="6549"/>
        <pc:sldMkLst>
          <pc:docMk/>
          <pc:sldMk cId="4128150633" sldId="319"/>
        </pc:sldMkLst>
        <pc:spChg chg="mod">
          <ac:chgData name="Marialuisa Pes" userId="2e7d9df5-0575-4dcc-80e5-bc0bfe81a8c2" providerId="ADAL" clId="{88F13EAA-32F8-4822-B305-7A3FCD7593DE}" dt="2023-05-12T12:16:40.025" v="749" actId="113"/>
          <ac:spMkLst>
            <pc:docMk/>
            <pc:sldMk cId="4128150633" sldId="319"/>
            <ac:spMk id="9" creationId="{1F1D467C-D281-B466-F3E9-0CF3FBCE7F46}"/>
          </ac:spMkLst>
        </pc:spChg>
        <pc:spChg chg="mod">
          <ac:chgData name="Marialuisa Pes" userId="2e7d9df5-0575-4dcc-80e5-bc0bfe81a8c2" providerId="ADAL" clId="{88F13EAA-32F8-4822-B305-7A3FCD7593DE}" dt="2023-05-26T11:28:44.624" v="1761" actId="6549"/>
          <ac:spMkLst>
            <pc:docMk/>
            <pc:sldMk cId="4128150633" sldId="319"/>
            <ac:spMk id="20" creationId="{C5656061-CA58-7A07-EE63-F5D493A39F7C}"/>
          </ac:spMkLst>
        </pc:spChg>
      </pc:sldChg>
      <pc:sldChg chg="addSp delSp modSp add mod">
        <pc:chgData name="Marialuisa Pes" userId="2e7d9df5-0575-4dcc-80e5-bc0bfe81a8c2" providerId="ADAL" clId="{88F13EAA-32F8-4822-B305-7A3FCD7593DE}" dt="2023-05-12T12:15:37.328" v="655" actId="6549"/>
        <pc:sldMkLst>
          <pc:docMk/>
          <pc:sldMk cId="1622064420" sldId="320"/>
        </pc:sldMkLst>
        <pc:spChg chg="add mod">
          <ac:chgData name="Marialuisa Pes" userId="2e7d9df5-0575-4dcc-80e5-bc0bfe81a8c2" providerId="ADAL" clId="{88F13EAA-32F8-4822-B305-7A3FCD7593DE}" dt="2023-05-12T12:12:55.564" v="306" actId="1036"/>
          <ac:spMkLst>
            <pc:docMk/>
            <pc:sldMk cId="1622064420" sldId="320"/>
            <ac:spMk id="5" creationId="{F8D29C75-0158-65D1-BAB4-457493B76FF4}"/>
          </ac:spMkLst>
        </pc:spChg>
        <pc:spChg chg="add mod">
          <ac:chgData name="Marialuisa Pes" userId="2e7d9df5-0575-4dcc-80e5-bc0bfe81a8c2" providerId="ADAL" clId="{88F13EAA-32F8-4822-B305-7A3FCD7593DE}" dt="2023-05-12T12:15:37.328" v="655" actId="6549"/>
          <ac:spMkLst>
            <pc:docMk/>
            <pc:sldMk cId="1622064420" sldId="320"/>
            <ac:spMk id="6" creationId="{E9B90222-C7F5-7F3A-EA15-62A86FC7FD8E}"/>
          </ac:spMkLst>
        </pc:spChg>
        <pc:spChg chg="mod">
          <ac:chgData name="Marialuisa Pes" userId="2e7d9df5-0575-4dcc-80e5-bc0bfe81a8c2" providerId="ADAL" clId="{88F13EAA-32F8-4822-B305-7A3FCD7593DE}" dt="2023-05-12T12:13:06.497" v="309" actId="113"/>
          <ac:spMkLst>
            <pc:docMk/>
            <pc:sldMk cId="1622064420" sldId="320"/>
            <ac:spMk id="9" creationId="{1F1D467C-D281-B466-F3E9-0CF3FBCE7F46}"/>
          </ac:spMkLst>
        </pc:spChg>
        <pc:spChg chg="del">
          <ac:chgData name="Marialuisa Pes" userId="2e7d9df5-0575-4dcc-80e5-bc0bfe81a8c2" providerId="ADAL" clId="{88F13EAA-32F8-4822-B305-7A3FCD7593DE}" dt="2023-05-12T12:11:07.274" v="14" actId="478"/>
          <ac:spMkLst>
            <pc:docMk/>
            <pc:sldMk cId="1622064420" sldId="320"/>
            <ac:spMk id="14" creationId="{17B6B2B1-3453-3D28-D7D8-9639D7A3C686}"/>
          </ac:spMkLst>
        </pc:spChg>
        <pc:spChg chg="del">
          <ac:chgData name="Marialuisa Pes" userId="2e7d9df5-0575-4dcc-80e5-bc0bfe81a8c2" providerId="ADAL" clId="{88F13EAA-32F8-4822-B305-7A3FCD7593DE}" dt="2023-05-12T12:11:07.831" v="15" actId="478"/>
          <ac:spMkLst>
            <pc:docMk/>
            <pc:sldMk cId="1622064420" sldId="320"/>
            <ac:spMk id="15" creationId="{970A2BC4-C0B8-9CA9-10F6-5313700BD7CF}"/>
          </ac:spMkLst>
        </pc:spChg>
        <pc:spChg chg="del">
          <ac:chgData name="Marialuisa Pes" userId="2e7d9df5-0575-4dcc-80e5-bc0bfe81a8c2" providerId="ADAL" clId="{88F13EAA-32F8-4822-B305-7A3FCD7593DE}" dt="2023-05-12T12:11:17.832" v="53" actId="478"/>
          <ac:spMkLst>
            <pc:docMk/>
            <pc:sldMk cId="1622064420" sldId="320"/>
            <ac:spMk id="23" creationId="{0F0EF276-7CC5-4B1A-7BF6-659A61D13D62}"/>
          </ac:spMkLst>
        </pc:spChg>
        <pc:picChg chg="add mod">
          <ac:chgData name="Marialuisa Pes" userId="2e7d9df5-0575-4dcc-80e5-bc0bfe81a8c2" providerId="ADAL" clId="{88F13EAA-32F8-4822-B305-7A3FCD7593DE}" dt="2023-05-12T12:12:55.564" v="306" actId="1036"/>
          <ac:picMkLst>
            <pc:docMk/>
            <pc:sldMk cId="1622064420" sldId="320"/>
            <ac:picMk id="2" creationId="{B67DFD2D-3877-70E9-87B7-1A3841248324}"/>
          </ac:picMkLst>
        </pc:picChg>
        <pc:picChg chg="del">
          <ac:chgData name="Marialuisa Pes" userId="2e7d9df5-0575-4dcc-80e5-bc0bfe81a8c2" providerId="ADAL" clId="{88F13EAA-32F8-4822-B305-7A3FCD7593DE}" dt="2023-05-12T12:11:08.316" v="16" actId="478"/>
          <ac:picMkLst>
            <pc:docMk/>
            <pc:sldMk cId="1622064420" sldId="320"/>
            <ac:picMk id="13" creationId="{DCA455C5-2885-125A-52F5-88E3C54F5113}"/>
          </ac:picMkLst>
        </pc:picChg>
      </pc:sldChg>
      <pc:sldChg chg="new del">
        <pc:chgData name="Marialuisa Pes" userId="2e7d9df5-0575-4dcc-80e5-bc0bfe81a8c2" providerId="ADAL" clId="{88F13EAA-32F8-4822-B305-7A3FCD7593DE}" dt="2023-05-12T12:21:13.468" v="1001" actId="47"/>
        <pc:sldMkLst>
          <pc:docMk/>
          <pc:sldMk cId="97422984" sldId="321"/>
        </pc:sldMkLst>
      </pc:sldChg>
      <pc:sldChg chg="addSp delSp modSp add mod">
        <pc:chgData name="Marialuisa Pes" userId="2e7d9df5-0575-4dcc-80e5-bc0bfe81a8c2" providerId="ADAL" clId="{88F13EAA-32F8-4822-B305-7A3FCD7593DE}" dt="2023-05-26T11:28:57.410" v="1763"/>
        <pc:sldMkLst>
          <pc:docMk/>
          <pc:sldMk cId="3691079957" sldId="321"/>
        </pc:sldMkLst>
        <pc:spChg chg="add mod">
          <ac:chgData name="Marialuisa Pes" userId="2e7d9df5-0575-4dcc-80e5-bc0bfe81a8c2" providerId="ADAL" clId="{88F13EAA-32F8-4822-B305-7A3FCD7593DE}" dt="2023-05-26T11:28:57.410" v="1763"/>
          <ac:spMkLst>
            <pc:docMk/>
            <pc:sldMk cId="3691079957" sldId="321"/>
            <ac:spMk id="2" creationId="{5D7D7197-EFF1-24A9-861D-B89792898BD5}"/>
          </ac:spMkLst>
        </pc:spChg>
        <pc:spChg chg="del mod">
          <ac:chgData name="Marialuisa Pes" userId="2e7d9df5-0575-4dcc-80e5-bc0bfe81a8c2" providerId="ADAL" clId="{88F13EAA-32F8-4822-B305-7A3FCD7593DE}" dt="2023-05-26T11:28:56.195" v="1762" actId="478"/>
          <ac:spMkLst>
            <pc:docMk/>
            <pc:sldMk cId="3691079957" sldId="321"/>
            <ac:spMk id="20" creationId="{C5656061-CA58-7A07-EE63-F5D493A39F7C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2" name="Google Shape;14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86089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513315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498598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801534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893030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013487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969360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482249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398866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03699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56546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326773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164742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884575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75412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029358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376401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34930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_Icon">
  <p:cSld name="Cover_Icon">
    <p:bg>
      <p:bgPr>
        <a:solidFill>
          <a:srgbClr val="FFFFFF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0"/>
          <p:cNvSpPr txBox="1">
            <a:spLocks noGrp="1"/>
          </p:cNvSpPr>
          <p:nvPr>
            <p:ph type="ctrTitle"/>
          </p:nvPr>
        </p:nvSpPr>
        <p:spPr>
          <a:xfrm>
            <a:off x="6104601" y="3442252"/>
            <a:ext cx="5764731" cy="312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CCD3"/>
              </a:buClr>
              <a:buSzPts val="5000"/>
              <a:buFont typeface="Helvetica Neue"/>
              <a:buNone/>
              <a:defRPr sz="5000" b="1">
                <a:solidFill>
                  <a:srgbClr val="2DCCD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it-IT"/>
              <a:t>Fare clic per modificare lo stile del titolo dello schema</a:t>
            </a:r>
            <a:endParaRPr/>
          </a:p>
        </p:txBody>
      </p:sp>
      <p:sp>
        <p:nvSpPr>
          <p:cNvPr id="17" name="Google Shape;17;p30"/>
          <p:cNvSpPr txBox="1">
            <a:spLocks noGrp="1"/>
          </p:cNvSpPr>
          <p:nvPr>
            <p:ph type="subTitle" idx="1"/>
          </p:nvPr>
        </p:nvSpPr>
        <p:spPr>
          <a:xfrm>
            <a:off x="6104601" y="2831747"/>
            <a:ext cx="5764731" cy="58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DCCD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2DCCD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it-IT"/>
              <a:t>Fare clic per modificare lo stile del sottotitolo dello schema</a:t>
            </a:r>
            <a:endParaRPr/>
          </a:p>
        </p:txBody>
      </p:sp>
      <p:pic>
        <p:nvPicPr>
          <p:cNvPr id="18" name="Google Shape;18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09417" y="301147"/>
            <a:ext cx="5225102" cy="62515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72F77734-1353-9B4E-8245-EE524816D55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35009" y="199232"/>
            <a:ext cx="734496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eaLnBrk="1">
              <a:defRPr/>
            </a:pPr>
            <a:r>
              <a:rPr lang="it-IT" altLang="it-IT" sz="750" b="0">
                <a:latin typeface="Raleway Light" panose="020B0403030101060003" pitchFamily="34" charset="77"/>
              </a:rPr>
              <a:t>© Retex Spa</a:t>
            </a:r>
          </a:p>
        </p:txBody>
      </p:sp>
      <p:sp>
        <p:nvSpPr>
          <p:cNvPr id="3" name="Numero diapositiva">
            <a:extLst>
              <a:ext uri="{FF2B5EF4-FFF2-40B4-BE49-F238E27FC236}">
                <a16:creationId xmlns:a16="http://schemas.microsoft.com/office/drawing/2014/main" id="{C2E27DEE-4E89-0149-BC45-4C2871F2A410}"/>
              </a:ext>
            </a:extLst>
          </p:cNvPr>
          <p:cNvSpPr txBox="1">
            <a:spLocks noGrp="1" noChangeArrowheads="1"/>
          </p:cNvSpPr>
          <p:nvPr>
            <p:ph type="sldNum" sz="quarter" idx="10"/>
          </p:nvPr>
        </p:nvSpPr>
        <p:spPr>
          <a:xfrm>
            <a:off x="11537157" y="6555582"/>
            <a:ext cx="169863" cy="158750"/>
          </a:xfrm>
        </p:spPr>
        <p:txBody>
          <a:bodyPr/>
          <a:lstStyle>
            <a:lvl1pPr>
              <a:defRPr>
                <a:latin typeface="Sofia Pro Light" panose="020B0000000000000000" pitchFamily="34" charset="0"/>
              </a:defRPr>
            </a:lvl1pPr>
          </a:lstStyle>
          <a:p>
            <a:fld id="{C14A1816-0034-6340-8F5F-CC4E5566198E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154013861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simple">
  <p:cSld name="content_simple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41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1pPr>
            <a:lvl2pPr marL="0" marR="0" lvl="1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2pPr>
            <a:lvl3pPr marL="0" marR="0" lvl="2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3pPr>
            <a:lvl4pPr marL="0" marR="0" lvl="3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4pPr>
            <a:lvl5pPr marL="0" marR="0" lvl="4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5pPr>
            <a:lvl6pPr marL="0" marR="0" lvl="5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6pPr>
            <a:lvl7pPr marL="0" marR="0" lvl="6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7pPr>
            <a:lvl8pPr marL="0" marR="0" lvl="7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8pPr>
            <a:lvl9pPr marL="0" marR="0" lvl="8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7" name="Google Shape;57;p41"/>
          <p:cNvSpPr txBox="1">
            <a:spLocks noGrp="1"/>
          </p:cNvSpPr>
          <p:nvPr>
            <p:ph type="body" idx="1"/>
          </p:nvPr>
        </p:nvSpPr>
        <p:spPr>
          <a:xfrm>
            <a:off x="316532" y="2120348"/>
            <a:ext cx="11697821" cy="3472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41"/>
          <p:cNvSpPr txBox="1"/>
          <p:nvPr/>
        </p:nvSpPr>
        <p:spPr>
          <a:xfrm>
            <a:off x="631575" y="6340100"/>
            <a:ext cx="17589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900" i="0" u="none" strike="noStrike" cap="none">
                <a:solidFill>
                  <a:schemeClr val="dk1"/>
                </a:solidFill>
              </a:rPr>
              <a:t>® RETEX SPA</a:t>
            </a:r>
            <a:endParaRPr/>
          </a:p>
        </p:txBody>
      </p:sp>
      <p:pic>
        <p:nvPicPr>
          <p:cNvPr id="59" name="Google Shape;59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6533" y="6242601"/>
            <a:ext cx="266564" cy="318932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41"/>
          <p:cNvSpPr txBox="1">
            <a:spLocks noGrp="1"/>
          </p:cNvSpPr>
          <p:nvPr>
            <p:ph type="title"/>
          </p:nvPr>
        </p:nvSpPr>
        <p:spPr>
          <a:xfrm>
            <a:off x="316532" y="404929"/>
            <a:ext cx="11697822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None/>
              <a:defRPr sz="42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72017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7FD5ABE7-B7A4-F9A6-C055-DA5A7C0517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866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395" imgH="394" progId="TCLayout.ActiveDocument.1">
                  <p:embed/>
                </p:oleObj>
              </mc:Choice>
              <mc:Fallback>
                <p:oleObj name="Diapositiva think-cell" r:id="rId6" imgW="395" imgH="394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7FD5ABE7-B7A4-F9A6-C055-DA5A7C0517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Helvetica Neue"/>
              <a:buNone/>
              <a:defRPr sz="440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75" r:id="rId2"/>
    <p:sldLayoutId id="2147483676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hyperlink" Target="https://serviziweb.inaz.it/heportaleretex/default.aspx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9DA343E9-259A-B6BE-B282-1CB9CB8E22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5097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9DA343E9-259A-B6BE-B282-1CB9CB8E2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" name="Google Shape;144;p2"/>
          <p:cNvSpPr txBox="1">
            <a:spLocks noGrp="1"/>
          </p:cNvSpPr>
          <p:nvPr>
            <p:ph type="ctrTitle"/>
          </p:nvPr>
        </p:nvSpPr>
        <p:spPr>
          <a:xfrm>
            <a:off x="6096000" y="4063180"/>
            <a:ext cx="5764731" cy="312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it-IT" sz="6000">
                <a:solidFill>
                  <a:srgbClr val="68C3CC"/>
                </a:solidFill>
                <a:latin typeface="Poppins"/>
                <a:cs typeface="Poppins"/>
                <a:sym typeface="Arial"/>
              </a:rPr>
              <a:t>NOTA</a:t>
            </a:r>
            <a:r>
              <a:rPr lang="it-IT" sz="6000">
                <a:solidFill>
                  <a:srgbClr val="00B0F0"/>
                </a:solidFill>
                <a:latin typeface="Poppins"/>
                <a:cs typeface="Poppins"/>
                <a:sym typeface="Arial"/>
              </a:rPr>
              <a:t> </a:t>
            </a:r>
            <a:r>
              <a:rPr lang="it-IT" sz="6000">
                <a:solidFill>
                  <a:srgbClr val="68C3CC"/>
                </a:solidFill>
                <a:latin typeface="Poppins"/>
                <a:cs typeface="Poppins"/>
                <a:sym typeface="Arial"/>
              </a:rPr>
              <a:t>SPESE</a:t>
            </a:r>
            <a:br>
              <a:rPr lang="it-IT" sz="6000">
                <a:solidFill>
                  <a:srgbClr val="00B0F0"/>
                </a:solidFill>
                <a:latin typeface="Poppins"/>
                <a:cs typeface="Poppins"/>
                <a:sym typeface="Arial"/>
              </a:rPr>
            </a:br>
            <a:endParaRPr lang="it-IT" sz="2800">
              <a:solidFill>
                <a:srgbClr val="68C3CC"/>
              </a:solidFill>
              <a:latin typeface="Poppins"/>
              <a:cs typeface="Poppin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917575" y="323603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funziona l’app mobile per le note spese?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EE8FF1D3-DD0E-8630-8101-F2E5FF3515B5}"/>
              </a:ext>
            </a:extLst>
          </p:cNvPr>
          <p:cNvSpPr/>
          <p:nvPr/>
        </p:nvSpPr>
        <p:spPr>
          <a:xfrm>
            <a:off x="2256721" y="3484221"/>
            <a:ext cx="2865120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v</a:t>
            </a:r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2E164ECD-0D7B-D510-D7CC-414F0513D3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3523" y="4096824"/>
            <a:ext cx="2889754" cy="359695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377513" y="1394452"/>
            <a:ext cx="11159644" cy="2523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64770" lvl="0">
              <a:spcBef>
                <a:spcPts val="1245"/>
              </a:spcBef>
              <a:spcAft>
                <a:spcPts val="0"/>
              </a:spcAft>
              <a:tabLst>
                <a:tab pos="470535" algn="l"/>
                <a:tab pos="471170" algn="l"/>
              </a:tabLst>
            </a:pPr>
            <a:r>
              <a:rPr lang="it-IT"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Puoi s</a:t>
            </a:r>
            <a:r>
              <a:rPr lang="it-IT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caricare l’app </a:t>
            </a:r>
            <a:r>
              <a:rPr lang="it-IT" b="1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He Travel </a:t>
            </a:r>
            <a:r>
              <a:rPr lang="it-IT" b="1" err="1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Mobility</a:t>
            </a:r>
            <a:r>
              <a:rPr lang="it-IT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 su App Store (dispositivi Apple) o Play Store (Dispositivi Android)</a:t>
            </a:r>
          </a:p>
          <a:p>
            <a:pPr marR="64770" lvl="0">
              <a:spcBef>
                <a:spcPts val="1245"/>
              </a:spcBef>
              <a:spcAft>
                <a:spcPts val="0"/>
              </a:spcAft>
              <a:tabLst>
                <a:tab pos="470535" algn="l"/>
                <a:tab pos="471170" algn="l"/>
              </a:tabLst>
            </a:pPr>
            <a:endParaRPr lang="it-IT">
              <a:effectLst/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marR="64770" lvl="0">
              <a:spcBef>
                <a:spcPts val="1245"/>
              </a:spcBef>
              <a:spcAft>
                <a:spcPts val="0"/>
              </a:spcAft>
              <a:tabLst>
                <a:tab pos="470535" algn="l"/>
                <a:tab pos="471170" algn="l"/>
              </a:tabLst>
            </a:pPr>
            <a:endParaRPr lang="it-IT"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marR="64770" lvl="0">
              <a:spcBef>
                <a:spcPts val="1245"/>
              </a:spcBef>
              <a:spcAft>
                <a:spcPts val="0"/>
              </a:spcAft>
              <a:tabLst>
                <a:tab pos="470535" algn="l"/>
                <a:tab pos="471170" algn="l"/>
              </a:tabLst>
            </a:pPr>
            <a:endParaRPr lang="it-IT">
              <a:effectLst/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marR="64770" lvl="0">
              <a:spcBef>
                <a:spcPts val="1245"/>
              </a:spcBef>
              <a:spcAft>
                <a:spcPts val="0"/>
              </a:spcAft>
              <a:tabLst>
                <a:tab pos="470535" algn="l"/>
                <a:tab pos="471170" algn="l"/>
              </a:tabLst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R="64770" lvl="0">
              <a:spcBef>
                <a:spcPts val="1245"/>
              </a:spcBef>
              <a:spcAft>
                <a:spcPts val="0"/>
              </a:spcAft>
              <a:tabLst>
                <a:tab pos="470535" algn="l"/>
                <a:tab pos="471170" algn="l"/>
              </a:tabLst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R="64770" lvl="0">
              <a:spcBef>
                <a:spcPts val="1245"/>
              </a:spcBef>
              <a:spcAft>
                <a:spcPts val="0"/>
              </a:spcAft>
              <a:tabLst>
                <a:tab pos="470535" algn="l"/>
                <a:tab pos="471170" algn="l"/>
              </a:tabLst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5845E4E6-CBF8-28BC-CA95-54B7E5A0F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54217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04FAEDDA-6AED-CD05-764B-91E726DD16F8}"/>
              </a:ext>
            </a:extLst>
          </p:cNvPr>
          <p:cNvSpPr txBox="1"/>
          <p:nvPr/>
        </p:nvSpPr>
        <p:spPr>
          <a:xfrm>
            <a:off x="5503715" y="2650274"/>
            <a:ext cx="607909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1) Una volta scaricata l’app, potrai aprirla e cliccare su </a:t>
            </a:r>
            <a:r>
              <a:rPr lang="it-IT" sz="1200" b="1">
                <a:latin typeface="Poppins" panose="00000500000000000000" pitchFamily="2" charset="0"/>
                <a:cs typeface="Poppins" panose="00000500000000000000" pitchFamily="2" charset="0"/>
              </a:rPr>
              <a:t>LOGIN CON QR CODE</a:t>
            </a:r>
          </a:p>
          <a:p>
            <a:endParaRPr lang="it-IT" sz="12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sz="12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2) Per attivarla, torna nella tua Home Page di </a:t>
            </a:r>
            <a:r>
              <a:rPr lang="it-IT" sz="1200" b="1" err="1">
                <a:latin typeface="Poppins" panose="00000500000000000000" pitchFamily="2" charset="0"/>
                <a:cs typeface="Poppins" panose="00000500000000000000" pitchFamily="2" charset="0"/>
              </a:rPr>
              <a:t>Inaz</a:t>
            </a: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, clicca sull’icona in alto a sinistra e poi su «</a:t>
            </a:r>
            <a:r>
              <a:rPr lang="it-IT" sz="1200" b="1">
                <a:latin typeface="Poppins" panose="00000500000000000000" pitchFamily="2" charset="0"/>
                <a:cs typeface="Poppins" panose="00000500000000000000" pitchFamily="2" charset="0"/>
              </a:rPr>
              <a:t>Qr Code per attivazione App </a:t>
            </a:r>
            <a:r>
              <a:rPr lang="it-IT" sz="1200" b="1" err="1">
                <a:latin typeface="Poppins" panose="00000500000000000000" pitchFamily="2" charset="0"/>
                <a:cs typeface="Poppins" panose="00000500000000000000" pitchFamily="2" charset="0"/>
              </a:rPr>
              <a:t>He.Travel</a:t>
            </a:r>
            <a:r>
              <a:rPr lang="it-IT" sz="1200" b="1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it-IT" sz="1200" b="1" err="1">
                <a:latin typeface="Poppins" panose="00000500000000000000" pitchFamily="2" charset="0"/>
                <a:cs typeface="Poppins" panose="00000500000000000000" pitchFamily="2" charset="0"/>
              </a:rPr>
              <a:t>Mobility</a:t>
            </a: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»</a:t>
            </a:r>
          </a:p>
          <a:p>
            <a:endParaRPr lang="it-IT" sz="12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sz="12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3) Si aprirà una finestra con un </a:t>
            </a:r>
            <a:r>
              <a:rPr lang="it-IT" sz="1200" b="1">
                <a:latin typeface="Poppins" panose="00000500000000000000" pitchFamily="2" charset="0"/>
                <a:cs typeface="Poppins" panose="00000500000000000000" pitchFamily="2" charset="0"/>
              </a:rPr>
              <a:t>Qr Code </a:t>
            </a: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da inquadrare. </a:t>
            </a:r>
          </a:p>
          <a:p>
            <a:pPr marL="63500" marR="66675" algn="just">
              <a:spcAft>
                <a:spcPts val="0"/>
              </a:spcAft>
            </a:pPr>
            <a:endParaRPr lang="it-IT" sz="12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63500" marR="66675" algn="just">
              <a:spcAft>
                <a:spcPts val="0"/>
              </a:spcAft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L’applicazione in automatico procederà alla configurazione dell’app ed al login con le tue credenziali.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F2CAC91A-FA78-FF30-F3A2-C119831016A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9820"/>
          <a:stretch/>
        </p:blipFill>
        <p:spPr>
          <a:xfrm>
            <a:off x="788192" y="2405701"/>
            <a:ext cx="4273770" cy="3454770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6E741FDB-CCF5-1C5E-5DEE-1A66206971C4}"/>
              </a:ext>
            </a:extLst>
          </p:cNvPr>
          <p:cNvSpPr txBox="1"/>
          <p:nvPr/>
        </p:nvSpPr>
        <p:spPr>
          <a:xfrm>
            <a:off x="708679" y="2321729"/>
            <a:ext cx="557732" cy="5201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6CA0813F-7942-2FC6-2CA5-80DE2DCF7E77}"/>
              </a:ext>
            </a:extLst>
          </p:cNvPr>
          <p:cNvSpPr txBox="1"/>
          <p:nvPr/>
        </p:nvSpPr>
        <p:spPr>
          <a:xfrm>
            <a:off x="880128" y="5426390"/>
            <a:ext cx="3568047" cy="32076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EDFD11F9-D28C-CE39-4470-41E17808F1C4}"/>
              </a:ext>
            </a:extLst>
          </p:cNvPr>
          <p:cNvSpPr txBox="1"/>
          <p:nvPr/>
        </p:nvSpPr>
        <p:spPr>
          <a:xfrm>
            <a:off x="1510748" y="2941983"/>
            <a:ext cx="2759102" cy="61084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34122178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917575" y="323603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posso inserire una spesa tramite app?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EE8FF1D3-DD0E-8630-8101-F2E5FF3515B5}"/>
              </a:ext>
            </a:extLst>
          </p:cNvPr>
          <p:cNvSpPr/>
          <p:nvPr/>
        </p:nvSpPr>
        <p:spPr>
          <a:xfrm>
            <a:off x="2256721" y="3484221"/>
            <a:ext cx="2865120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v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392840" y="1181864"/>
            <a:ext cx="114063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64770" lvl="0">
              <a:spcBef>
                <a:spcPts val="1245"/>
              </a:spcBef>
              <a:spcAft>
                <a:spcPts val="0"/>
              </a:spcAft>
              <a:tabLst>
                <a:tab pos="470535" algn="l"/>
                <a:tab pos="471170" algn="l"/>
              </a:tabLst>
            </a:pPr>
            <a:r>
              <a:rPr lang="it-IT"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Per inserire una tua spesa tramite app sarà sufficiente cliccare sul </a:t>
            </a:r>
            <a:r>
              <a:rPr lang="it-IT" b="1"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+</a:t>
            </a:r>
            <a:r>
              <a:rPr lang="it-IT"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 nella parte bassa della schermata si aprirà la fotocamera per fotografare la ricevuta:</a:t>
            </a: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5845E4E6-CBF8-28BC-CA95-54B7E5A0F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54217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70179CD-FF49-953C-A909-87B5E0CAA34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582"/>
          <a:stretch/>
        </p:blipFill>
        <p:spPr>
          <a:xfrm>
            <a:off x="4837081" y="2043234"/>
            <a:ext cx="2008548" cy="4124525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0C79C149-961E-6491-CA03-A59C1FBD1805}"/>
              </a:ext>
            </a:extLst>
          </p:cNvPr>
          <p:cNvSpPr txBox="1"/>
          <p:nvPr/>
        </p:nvSpPr>
        <p:spPr>
          <a:xfrm>
            <a:off x="5564178" y="5532961"/>
            <a:ext cx="550930" cy="4572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42264612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917575" y="323603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posso inserire una spesa tramite app?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361860" y="1244244"/>
            <a:ext cx="111596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3500">
              <a:spcBef>
                <a:spcPts val="380"/>
              </a:spcBef>
              <a:spcAft>
                <a:spcPts val="0"/>
              </a:spcAft>
            </a:pP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Cliccando, per esempio su 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Vitto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, il sistema attiva la fotocamera per scattare la foto allo scontrino. Una volta scattata la foto si aprirà la seguente schermata: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DCA455C5-2885-125A-52F5-88E3C54F51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8614" y="2174680"/>
            <a:ext cx="1926503" cy="4182218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17B6B2B1-3453-3D28-D7D8-9639D7A3C686}"/>
              </a:ext>
            </a:extLst>
          </p:cNvPr>
          <p:cNvSpPr txBox="1"/>
          <p:nvPr/>
        </p:nvSpPr>
        <p:spPr>
          <a:xfrm>
            <a:off x="3333884" y="2339620"/>
            <a:ext cx="7857346" cy="40370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3500">
              <a:spcBef>
                <a:spcPts val="1205"/>
              </a:spcBef>
              <a:spcAft>
                <a:spcPts val="0"/>
              </a:spcAft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Fra le spese di VITTO dovrai indicare per quale Spesa stai inserendo il giustificativo. Clicca su </a:t>
            </a:r>
            <a:r>
              <a:rPr lang="it-IT" sz="1200" b="1">
                <a:latin typeface="Poppins" panose="00000500000000000000" pitchFamily="2" charset="0"/>
                <a:cs typeface="Poppins" panose="00000500000000000000" pitchFamily="2" charset="0"/>
              </a:rPr>
              <a:t>Tipo*.</a:t>
            </a:r>
          </a:p>
          <a:p>
            <a:pPr marL="63500">
              <a:spcBef>
                <a:spcPts val="1205"/>
              </a:spcBef>
              <a:spcAft>
                <a:spcPts val="0"/>
              </a:spcAft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Seleziona, per esempio, </a:t>
            </a:r>
            <a:r>
              <a:rPr lang="it-IT" sz="1200" b="1">
                <a:latin typeface="Poppins" panose="00000500000000000000" pitchFamily="2" charset="0"/>
                <a:cs typeface="Poppins" panose="00000500000000000000" pitchFamily="2" charset="0"/>
              </a:rPr>
              <a:t>Pranzo</a:t>
            </a: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 e inserisci la foto dello scontrino. L’applicazione riporterà tutti i dati letti con l’OCR in automatico. </a:t>
            </a:r>
          </a:p>
          <a:p>
            <a:pPr marL="63500">
              <a:spcBef>
                <a:spcPts val="1205"/>
              </a:spcBef>
              <a:spcAft>
                <a:spcPts val="0"/>
              </a:spcAft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All’interno della spesa inserirà: </a:t>
            </a:r>
          </a:p>
          <a:p>
            <a:pPr marL="349250" indent="-285750">
              <a:spcBef>
                <a:spcPts val="1205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Data della spesa;</a:t>
            </a:r>
          </a:p>
          <a:p>
            <a:pPr marL="349250" indent="-285750">
              <a:spcBef>
                <a:spcPts val="1205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Importo;</a:t>
            </a:r>
          </a:p>
          <a:p>
            <a:pPr marL="349250" indent="-285750">
              <a:spcBef>
                <a:spcPts val="1205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Valuta.</a:t>
            </a:r>
          </a:p>
          <a:p>
            <a:pPr marL="63500">
              <a:spcBef>
                <a:spcPts val="1205"/>
              </a:spcBef>
              <a:spcAft>
                <a:spcPts val="0"/>
              </a:spcAft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Ed assocerà in automatico la spesa alla trasferta di riferimento.</a:t>
            </a:r>
          </a:p>
          <a:p>
            <a:pPr marL="63500">
              <a:spcBef>
                <a:spcPts val="1205"/>
              </a:spcBef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Verifica sempre che </a:t>
            </a:r>
            <a:r>
              <a:rPr lang="it-IT" sz="1200" b="1">
                <a:latin typeface="Poppins" panose="00000500000000000000" pitchFamily="2" charset="0"/>
                <a:cs typeface="Poppins" panose="00000500000000000000" pitchFamily="2" charset="0"/>
              </a:rPr>
              <a:t>tutti i dati siano stati inseriti correttamente </a:t>
            </a: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e in caso contrario provvedi alla modifica manualmente.</a:t>
            </a:r>
          </a:p>
          <a:p>
            <a:pPr marL="63500">
              <a:spcBef>
                <a:spcPts val="1205"/>
              </a:spcBef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Se previsto dalla policy aziendale, cliccando sulla voce «Beneficiari» sarà possibile inserire ospiti o colleghi per i quali abbiamo pagato il servizio/pasto. </a:t>
            </a:r>
          </a:p>
          <a:p>
            <a:pPr marL="63500">
              <a:spcBef>
                <a:spcPts val="995"/>
              </a:spcBef>
              <a:spcAft>
                <a:spcPts val="0"/>
              </a:spcAft>
            </a:pP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Per salvare la spesa inserita sarà sufficiente cliccare in basso a destra sull’icona</a:t>
            </a:r>
          </a:p>
          <a:p>
            <a:pPr marL="63500">
              <a:spcBef>
                <a:spcPts val="10"/>
              </a:spcBef>
              <a:spcAft>
                <a:spcPts val="0"/>
              </a:spcAft>
            </a:pPr>
            <a:r>
              <a:rPr lang="it-IT" sz="1200" b="1">
                <a:latin typeface="Poppins" panose="00000500000000000000" pitchFamily="2" charset="0"/>
                <a:cs typeface="Poppins" panose="00000500000000000000" pitchFamily="2" charset="0"/>
              </a:rPr>
              <a:t>Salva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970A2BC4-C0B8-9CA9-10F6-5313700BD7CF}"/>
              </a:ext>
            </a:extLst>
          </p:cNvPr>
          <p:cNvSpPr txBox="1"/>
          <p:nvPr/>
        </p:nvSpPr>
        <p:spPr>
          <a:xfrm>
            <a:off x="1142205" y="2703443"/>
            <a:ext cx="1562912" cy="30777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0F0EF276-7CC5-4B1A-7BF6-659A61D13D62}"/>
              </a:ext>
            </a:extLst>
          </p:cNvPr>
          <p:cNvSpPr txBox="1"/>
          <p:nvPr/>
        </p:nvSpPr>
        <p:spPr>
          <a:xfrm>
            <a:off x="1877664" y="6116006"/>
            <a:ext cx="675897" cy="30777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86056232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917575" y="323603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posso inserire una spesa tramite app?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391221" y="1630929"/>
            <a:ext cx="111596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3500">
              <a:spcBef>
                <a:spcPts val="380"/>
              </a:spcBef>
              <a:spcAft>
                <a:spcPts val="0"/>
              </a:spcAft>
            </a:pP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Una volta inserita la nota spesa, sarà necessario tornare sul portale da pc e fare click su «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Spese da APP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, selezionare tutte le spese e cliccare su «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Associa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, al fine di caricare tutte le spese presenti sulla APP nel portale.  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B67DFD2D-3877-70E9-87B7-1A384124832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0680" r="1648"/>
          <a:stretch/>
        </p:blipFill>
        <p:spPr>
          <a:xfrm>
            <a:off x="1118816" y="2799950"/>
            <a:ext cx="9540067" cy="1648512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F8D29C75-0158-65D1-BAB4-457493B76FF4}"/>
              </a:ext>
            </a:extLst>
          </p:cNvPr>
          <p:cNvSpPr txBox="1"/>
          <p:nvPr/>
        </p:nvSpPr>
        <p:spPr>
          <a:xfrm>
            <a:off x="2942796" y="2942291"/>
            <a:ext cx="828675" cy="30777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E9B90222-C7F5-7F3A-EA15-62A86FC7FD8E}"/>
              </a:ext>
            </a:extLst>
          </p:cNvPr>
          <p:cNvSpPr txBox="1"/>
          <p:nvPr/>
        </p:nvSpPr>
        <p:spPr>
          <a:xfrm>
            <a:off x="516178" y="5227071"/>
            <a:ext cx="11159644" cy="5745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3500">
              <a:spcBef>
                <a:spcPts val="380"/>
              </a:spcBef>
              <a:spcAft>
                <a:spcPts val="0"/>
              </a:spcAft>
            </a:pP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Se vuoi rivederla dopo o aggiungere in seguito altre spese, clicca su «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Salva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. </a:t>
            </a:r>
          </a:p>
          <a:p>
            <a:pPr marL="63500">
              <a:spcBef>
                <a:spcPts val="380"/>
              </a:spcBef>
              <a:spcAft>
                <a:spcPts val="0"/>
              </a:spcAft>
            </a:pP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Se si vuole terminare la nota spese fai click su «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Conferma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 per mandarla in approvazione. </a:t>
            </a:r>
          </a:p>
        </p:txBody>
      </p:sp>
    </p:spTree>
    <p:extLst>
      <p:ext uri="{BB962C8B-B14F-4D97-AF65-F5344CB8AC3E}">
        <p14:creationId xmlns:p14="http://schemas.microsoft.com/office/powerpoint/2010/main" val="1622064420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1881124" y="327774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ltimo step: stampare la nota spesa</a:t>
            </a:r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2E164ECD-0D7B-D510-D7CC-414F0513D3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3523" y="4096824"/>
            <a:ext cx="2889754" cy="359695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377513" y="1336061"/>
            <a:ext cx="111596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Una volta confermata la nota spesa, dovrai andare sul portale e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stampare la nota spesa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. Per farlo, basterà cliccare sull’icona di stampa corrispondente alla nota spesa che vogliamo completare.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2AE76BEC-D491-8EF0-BC8E-B6BB93946D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7513" y="2366078"/>
            <a:ext cx="10859585" cy="1730746"/>
          </a:xfrm>
          <a:prstGeom prst="rect">
            <a:avLst/>
          </a:prstGeom>
        </p:spPr>
      </p:pic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D527FB8E-336E-0D41-4879-581789BB85C9}"/>
              </a:ext>
            </a:extLst>
          </p:cNvPr>
          <p:cNvCxnSpPr>
            <a:cxnSpLocks/>
          </p:cNvCxnSpPr>
          <p:nvPr/>
        </p:nvCxnSpPr>
        <p:spPr>
          <a:xfrm>
            <a:off x="2084832" y="3950208"/>
            <a:ext cx="5221224" cy="0"/>
          </a:xfrm>
          <a:prstGeom prst="line">
            <a:avLst/>
          </a:prstGeom>
          <a:ln w="1270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FF602388-9B75-B507-CFED-EC86B3757A5E}"/>
              </a:ext>
            </a:extLst>
          </p:cNvPr>
          <p:cNvSpPr txBox="1"/>
          <p:nvPr/>
        </p:nvSpPr>
        <p:spPr>
          <a:xfrm>
            <a:off x="832104" y="3721608"/>
            <a:ext cx="393192" cy="42093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C5656061-CA58-7A07-EE63-F5D493A39F7C}"/>
              </a:ext>
            </a:extLst>
          </p:cNvPr>
          <p:cNvSpPr txBox="1"/>
          <p:nvPr/>
        </p:nvSpPr>
        <p:spPr>
          <a:xfrm>
            <a:off x="377513" y="4844831"/>
            <a:ext cx="1115964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Successivamente si aprirà una nuova pagina dove sarà possibile stampare il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PDF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creato dal sistema.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Infine, sarà necessario inserire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tutte le ricevute originali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e il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PDF stampato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in una busta, che invierai all’amministrazione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entro e non oltre il 1° giorno lavorativo del mese successivo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150633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2716808" y="304081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funziona dal portale ?</a:t>
            </a: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DB6C2459-CA3B-B18D-4AC4-BF51E7A860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3523" y="5476616"/>
            <a:ext cx="2889754" cy="109738"/>
          </a:xfrm>
          <a:prstGeom prst="rect">
            <a:avLst/>
          </a:prstGeom>
        </p:spPr>
      </p:pic>
      <p:sp>
        <p:nvSpPr>
          <p:cNvPr id="19" name="Rettangolo 18">
            <a:extLst>
              <a:ext uri="{FF2B5EF4-FFF2-40B4-BE49-F238E27FC236}">
                <a16:creationId xmlns:a16="http://schemas.microsoft.com/office/drawing/2014/main" id="{EE8FF1D3-DD0E-8630-8101-F2E5FF3515B5}"/>
              </a:ext>
            </a:extLst>
          </p:cNvPr>
          <p:cNvSpPr/>
          <p:nvPr/>
        </p:nvSpPr>
        <p:spPr>
          <a:xfrm>
            <a:off x="2256721" y="3484221"/>
            <a:ext cx="2865120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v</a:t>
            </a:r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2E164ECD-0D7B-D510-D7CC-414F0513D3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3523" y="4096824"/>
            <a:ext cx="2889754" cy="359695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377513" y="1231441"/>
            <a:ext cx="111596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1) Qualora decidessi di non utilizzare l’app mobile potrai inserire le spese sostenute, cliccando su «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Rendicontazione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», sul portale ti apparirà la seguente schermata:  </a:t>
            </a: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5845E4E6-CBF8-28BC-CA95-54B7E5A0F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54217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7AFC1525-033F-3753-94C5-CF5BDCDD70E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34542"/>
          <a:stretch/>
        </p:blipFill>
        <p:spPr>
          <a:xfrm>
            <a:off x="1372929" y="1998044"/>
            <a:ext cx="9168812" cy="2594080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BF976D8C-CE83-19E9-94FB-35352491BF48}"/>
              </a:ext>
            </a:extLst>
          </p:cNvPr>
          <p:cNvSpPr txBox="1"/>
          <p:nvPr/>
        </p:nvSpPr>
        <p:spPr>
          <a:xfrm>
            <a:off x="516178" y="5205926"/>
            <a:ext cx="111596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0">
              <a:spcBef>
                <a:spcPts val="1145"/>
              </a:spcBef>
              <a:spcAft>
                <a:spcPts val="0"/>
              </a:spcAft>
            </a:pP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2) Per inserire, per esempio, una spesa di PRANZO sostenuta in data 27/04, andrai a cliccare nel tabellone centrale, l’incrocio fra la data e la voce di spesa.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2AB6E777-07C6-8F75-2F80-62FD817E4942}"/>
              </a:ext>
            </a:extLst>
          </p:cNvPr>
          <p:cNvSpPr/>
          <p:nvPr/>
        </p:nvSpPr>
        <p:spPr>
          <a:xfrm flipV="1">
            <a:off x="4410075" y="2630806"/>
            <a:ext cx="342900" cy="45719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20800712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1203325" y="286629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posso inserire una nuova nota spesa?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EE8FF1D3-DD0E-8630-8101-F2E5FF3515B5}"/>
              </a:ext>
            </a:extLst>
          </p:cNvPr>
          <p:cNvSpPr/>
          <p:nvPr/>
        </p:nvSpPr>
        <p:spPr>
          <a:xfrm>
            <a:off x="2256721" y="3484221"/>
            <a:ext cx="2865120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v</a:t>
            </a:r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2E164ECD-0D7B-D510-D7CC-414F0513D3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3523" y="4096824"/>
            <a:ext cx="2889754" cy="359695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377513" y="1308727"/>
            <a:ext cx="111596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5) A questo punto, ti apparirà la seguente finestra nella parte bassa della schermata:</a:t>
            </a: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5845E4E6-CBF8-28BC-CA95-54B7E5A0F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54217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F976D8C-CE83-19E9-94FB-35352491BF48}"/>
              </a:ext>
            </a:extLst>
          </p:cNvPr>
          <p:cNvSpPr txBox="1"/>
          <p:nvPr/>
        </p:nvSpPr>
        <p:spPr>
          <a:xfrm>
            <a:off x="462444" y="4167123"/>
            <a:ext cx="11159644" cy="19492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0">
              <a:spcBef>
                <a:spcPts val="1145"/>
              </a:spcBef>
              <a:spcAft>
                <a:spcPts val="0"/>
              </a:spcAft>
            </a:pP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6) In questa finestra, andrai a inserire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tutti i dettagli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relativi alla spesa sostenuta.</a:t>
            </a:r>
          </a:p>
          <a:p>
            <a:pPr marL="76200">
              <a:spcBef>
                <a:spcPts val="1145"/>
              </a:spcBef>
              <a:spcAft>
                <a:spcPts val="0"/>
              </a:spcAft>
            </a:pP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Se previsto dalla policy aziendale, cliccando sulla voce «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Beneficiari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 sarà possibile inserire ospiti o colleghi per i quali abbiamo pagato il servizio/pasto. </a:t>
            </a:r>
          </a:p>
          <a:p>
            <a:pPr marL="76200">
              <a:spcBef>
                <a:spcPts val="1145"/>
              </a:spcBef>
              <a:spcAft>
                <a:spcPts val="0"/>
              </a:spcAft>
            </a:pPr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76200">
              <a:spcBef>
                <a:spcPts val="1145"/>
              </a:spcBef>
              <a:spcAft>
                <a:spcPts val="0"/>
              </a:spcAft>
            </a:pP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7) Infine, dovrai allegare la ricevuta che attesta la spesa sostenuta e cliccare su «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Salva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.</a:t>
            </a:r>
          </a:p>
          <a:p>
            <a:pPr marL="76200">
              <a:spcBef>
                <a:spcPts val="1145"/>
              </a:spcBef>
              <a:spcAft>
                <a:spcPts val="0"/>
              </a:spcAft>
            </a:pP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Nel caso in cui nella stessa data, avessimo più ricevute da inserire, occorrerà cliccare su «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+ Nuovo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».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2F1D5AB4-FD00-E94A-4EE3-D90F58C07EF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60680" r="1648"/>
          <a:stretch/>
        </p:blipFill>
        <p:spPr>
          <a:xfrm>
            <a:off x="954429" y="1991554"/>
            <a:ext cx="9540067" cy="1648512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2CD8160-56EF-CC94-D076-EDBE8A1C7DE8}"/>
              </a:ext>
            </a:extLst>
          </p:cNvPr>
          <p:cNvSpPr txBox="1"/>
          <p:nvPr/>
        </p:nvSpPr>
        <p:spPr>
          <a:xfrm>
            <a:off x="4083228" y="1925152"/>
            <a:ext cx="828675" cy="30777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689E574-5B78-68B4-3129-4358D2FDF957}"/>
              </a:ext>
            </a:extLst>
          </p:cNvPr>
          <p:cNvSpPr txBox="1"/>
          <p:nvPr/>
        </p:nvSpPr>
        <p:spPr>
          <a:xfrm>
            <a:off x="1027416" y="2212792"/>
            <a:ext cx="482027" cy="18108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52674175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2374900" y="270628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si conclude la richiesta?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EE8FF1D3-DD0E-8630-8101-F2E5FF3515B5}"/>
              </a:ext>
            </a:extLst>
          </p:cNvPr>
          <p:cNvSpPr/>
          <p:nvPr/>
        </p:nvSpPr>
        <p:spPr>
          <a:xfrm>
            <a:off x="2256721" y="3484221"/>
            <a:ext cx="2865120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v</a:t>
            </a:r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2E164ECD-0D7B-D510-D7CC-414F0513D3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3523" y="4096824"/>
            <a:ext cx="2889754" cy="359695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377513" y="1394452"/>
            <a:ext cx="111596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Una volta inseriti tutti i dettagli della spesa e eventuali ricevute di pagamento, sarà sufficiente cliccare su «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Conferma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».</a:t>
            </a: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5845E4E6-CBF8-28BC-CA95-54B7E5A0F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54217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F976D8C-CE83-19E9-94FB-35352491BF48}"/>
              </a:ext>
            </a:extLst>
          </p:cNvPr>
          <p:cNvSpPr txBox="1"/>
          <p:nvPr/>
        </p:nvSpPr>
        <p:spPr>
          <a:xfrm>
            <a:off x="402130" y="3315474"/>
            <a:ext cx="11159644" cy="1366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0">
              <a:lnSpc>
                <a:spcPct val="115000"/>
              </a:lnSpc>
              <a:spcBef>
                <a:spcPts val="1340"/>
              </a:spcBef>
              <a:spcAft>
                <a:spcPts val="0"/>
              </a:spcAft>
            </a:pP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Se, una volta confermata la nota spese (inviata in approvazione), ci accorgiamo di aver dimenticato di inserire un giustificativo, possiamo richiamarla in completamento con il tasto 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SOSPENDI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marL="76200">
              <a:lnSpc>
                <a:spcPct val="115000"/>
              </a:lnSpc>
              <a:spcBef>
                <a:spcPts val="1340"/>
              </a:spcBef>
              <a:spcAft>
                <a:spcPts val="0"/>
              </a:spcAft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762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</a:pP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ATTENZIONE: Il tasto SOSPENDI sarà disponibile solo se la Nota Spese è ancora in stato 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IN APPROVAZIONE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2F1D5AB4-FD00-E94A-4EE3-D90F58C07EF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60680" r="1648" b="26840"/>
          <a:stretch/>
        </p:blipFill>
        <p:spPr>
          <a:xfrm>
            <a:off x="954429" y="2077279"/>
            <a:ext cx="9540067" cy="523220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2CD8160-56EF-CC94-D076-EDBE8A1C7DE8}"/>
              </a:ext>
            </a:extLst>
          </p:cNvPr>
          <p:cNvSpPr txBox="1"/>
          <p:nvPr/>
        </p:nvSpPr>
        <p:spPr>
          <a:xfrm>
            <a:off x="5153277" y="2220541"/>
            <a:ext cx="828675" cy="30777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22329553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1881124" y="327774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ltimo step: stampare la nota spesa</a:t>
            </a:r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2E164ECD-0D7B-D510-D7CC-414F0513D3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3523" y="4096824"/>
            <a:ext cx="2889754" cy="359695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377513" y="1336061"/>
            <a:ext cx="111596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Una volta confermata la nota spesa, dovrai andare sul portale e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stampare la nota spesa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. Per farlo, basterà cliccare sull’icona di stampa corrispondente alla nota spesa che vogliamo completare.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2AE76BEC-D491-8EF0-BC8E-B6BB93946D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7513" y="2366078"/>
            <a:ext cx="10859585" cy="1730746"/>
          </a:xfrm>
          <a:prstGeom prst="rect">
            <a:avLst/>
          </a:prstGeom>
        </p:spPr>
      </p:pic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D527FB8E-336E-0D41-4879-581789BB85C9}"/>
              </a:ext>
            </a:extLst>
          </p:cNvPr>
          <p:cNvCxnSpPr>
            <a:cxnSpLocks/>
          </p:cNvCxnSpPr>
          <p:nvPr/>
        </p:nvCxnSpPr>
        <p:spPr>
          <a:xfrm>
            <a:off x="2084832" y="3950208"/>
            <a:ext cx="5221224" cy="0"/>
          </a:xfrm>
          <a:prstGeom prst="line">
            <a:avLst/>
          </a:prstGeom>
          <a:ln w="1270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FF602388-9B75-B507-CFED-EC86B3757A5E}"/>
              </a:ext>
            </a:extLst>
          </p:cNvPr>
          <p:cNvSpPr txBox="1"/>
          <p:nvPr/>
        </p:nvSpPr>
        <p:spPr>
          <a:xfrm>
            <a:off x="832104" y="3721608"/>
            <a:ext cx="393192" cy="42093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5D7D7197-EFF1-24A9-861D-B89792898BD5}"/>
              </a:ext>
            </a:extLst>
          </p:cNvPr>
          <p:cNvSpPr txBox="1"/>
          <p:nvPr/>
        </p:nvSpPr>
        <p:spPr>
          <a:xfrm>
            <a:off x="377513" y="4844831"/>
            <a:ext cx="1115964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Successivamente si aprirà una nuova pagina dove sarà possibile stampare il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PDF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creato dal sistema.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Infine, sarà necessario inserire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tutte le ricevute originali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e il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PDF stampato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in una busta, che invierai all’amministrazione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entro e non oltre il 1° giorno lavorativo del mese successivo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1079957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12"/>
          <p:cNvSpPr txBox="1">
            <a:spLocks noGrp="1"/>
          </p:cNvSpPr>
          <p:nvPr>
            <p:ph type="title"/>
          </p:nvPr>
        </p:nvSpPr>
        <p:spPr>
          <a:xfrm>
            <a:off x="229896" y="414454"/>
            <a:ext cx="11802319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200"/>
              <a:buFont typeface="Helvetica Neue"/>
              <a:buNone/>
            </a:pPr>
            <a:r>
              <a:rPr lang="it-IT" sz="50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NOTA SPESE</a:t>
            </a:r>
            <a:endParaRPr sz="5000" dirty="0">
              <a:solidFill>
                <a:srgbClr val="68C3CC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213" name="Google Shape;213;p12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19</a:t>
            </a:fld>
            <a:endParaRPr/>
          </a:p>
        </p:txBody>
      </p:sp>
      <p:sp>
        <p:nvSpPr>
          <p:cNvPr id="5" name="Google Shape;214;p12">
            <a:extLst>
              <a:ext uri="{FF2B5EF4-FFF2-40B4-BE49-F238E27FC236}">
                <a16:creationId xmlns:a16="http://schemas.microsoft.com/office/drawing/2014/main" id="{5FFAB243-546A-0044-5D27-37658977E6B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64283" y="1185399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</a:pPr>
            <a:r>
              <a:rPr lang="it-IT" sz="1800" b="1" i="1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Grazie per l’attenzione</a:t>
            </a:r>
            <a:endParaRPr lang="it-IT" sz="1800" b="1" i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CF5BD1F7-E378-BB4A-8677-781102B268C6}"/>
              </a:ext>
            </a:extLst>
          </p:cNvPr>
          <p:cNvSpPr txBox="1"/>
          <p:nvPr/>
        </p:nvSpPr>
        <p:spPr>
          <a:xfrm>
            <a:off x="2390228" y="3429000"/>
            <a:ext cx="10382250" cy="32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Se dovessi avere ulteriori dubbi o domande scrivi a: </a:t>
            </a:r>
            <a:r>
              <a:rPr lang="it-IT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Helvetica Neue"/>
              </a:rPr>
              <a:t>people@retexspa.com 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72B791B-5E16-2BDA-A2F8-7569CB07AF99}"/>
              </a:ext>
            </a:extLst>
          </p:cNvPr>
          <p:cNvSpPr txBox="1"/>
          <p:nvPr/>
        </p:nvSpPr>
        <p:spPr>
          <a:xfrm>
            <a:off x="832207" y="2568539"/>
            <a:ext cx="104796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Per approfondimenti ti invitiamo a prendere visione dei manuali relativi alla nota spese, Car Policy e Travel Policy presenti sul nostro </a:t>
            </a:r>
            <a:r>
              <a:rPr lang="it-IT" dirty="0" err="1">
                <a:latin typeface="Poppins" panose="00000500000000000000" pitchFamily="2" charset="0"/>
                <a:cs typeface="Poppins" panose="00000500000000000000" pitchFamily="2" charset="0"/>
              </a:rPr>
              <a:t>Sharepoint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429629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A6BADED0-2E0F-714E-7937-93ACB3EA33A9}"/>
              </a:ext>
            </a:extLst>
          </p:cNvPr>
          <p:cNvSpPr txBox="1"/>
          <p:nvPr/>
        </p:nvSpPr>
        <p:spPr>
          <a:xfrm>
            <a:off x="422095" y="1578009"/>
            <a:ext cx="11347810" cy="823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5000"/>
              </a:lnSpc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just">
              <a:lnSpc>
                <a:spcPct val="115000"/>
              </a:lnSpc>
            </a:pPr>
            <a:endParaRPr lang="sv-SE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just">
              <a:lnSpc>
                <a:spcPct val="115000"/>
              </a:lnSpc>
            </a:pPr>
            <a:endParaRPr lang="sv-SE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3775015" y="356542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 c</a:t>
            </a:r>
            <a:r>
              <a:rPr lang="it-IT" sz="3000" b="1">
                <a:solidFill>
                  <a:srgbClr val="68C3CC"/>
                </a:solidFill>
                <a:latin typeface="Poppins"/>
                <a:cs typeface="Poppins"/>
                <a:sym typeface="Helvetica Neue"/>
              </a:rPr>
              <a:t>o</a:t>
            </a: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’è </a:t>
            </a:r>
            <a:r>
              <a:rPr lang="it-IT" sz="3000" b="1" err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az</a:t>
            </a: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?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C16F7659-7F26-384A-B79D-1218428BBFFE}"/>
              </a:ext>
            </a:extLst>
          </p:cNvPr>
          <p:cNvSpPr txBox="1"/>
          <p:nvPr/>
        </p:nvSpPr>
        <p:spPr>
          <a:xfrm>
            <a:off x="422095" y="1468207"/>
            <a:ext cx="11052313" cy="39215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6200">
              <a:lnSpc>
                <a:spcPct val="115000"/>
              </a:lnSpc>
            </a:pPr>
            <a:r>
              <a:rPr lang="it-IT" b="1" dirty="0" err="1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Inaz</a:t>
            </a:r>
            <a:r>
              <a:rPr lang="it-IT" dirty="0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 è il portale tramite cui è possibile caricare le proprie note spese. Di seguito il link:</a:t>
            </a:r>
            <a:endParaRPr lang="it-IT" dirty="0"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marL="76200">
              <a:lnSpc>
                <a:spcPct val="115000"/>
              </a:lnSpc>
            </a:pPr>
            <a:r>
              <a:rPr lang="it-IT" dirty="0"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  <a:hlinkClick r:id="rId6"/>
              </a:rPr>
              <a:t>https://serviziweb.inaz.it/heportaleretex/default.aspx</a:t>
            </a:r>
            <a:endParaRPr lang="it-IT" dirty="0"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marL="76200">
              <a:lnSpc>
                <a:spcPct val="115000"/>
              </a:lnSpc>
            </a:pPr>
            <a:endParaRPr lang="it-IT" dirty="0"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marL="76200">
              <a:lnSpc>
                <a:spcPct val="115000"/>
              </a:lnSpc>
            </a:pPr>
            <a:endParaRPr lang="it-IT" dirty="0">
              <a:effectLst/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marL="76200">
              <a:lnSpc>
                <a:spcPct val="115000"/>
              </a:lnSpc>
            </a:pPr>
            <a:r>
              <a:rPr lang="it-IT" dirty="0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Per accedere al servizio per la prima volta, bisognerà digitare nel campo Username il proprio nome utente composto da:</a:t>
            </a:r>
          </a:p>
          <a:p>
            <a:pPr marL="342900" lvl="0" indent="-342900">
              <a:spcBef>
                <a:spcPts val="1000"/>
              </a:spcBef>
              <a:buSzPts val="1600"/>
              <a:buFont typeface="Franklin Gothic Medium" panose="020B0603020102020204" pitchFamily="34" charset="0"/>
              <a:buChar char="-"/>
              <a:tabLst>
                <a:tab pos="533400" algn="l"/>
                <a:tab pos="534035" algn="l"/>
              </a:tabLst>
            </a:pPr>
            <a:r>
              <a:rPr lang="it-IT" dirty="0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Prima lettera del proprio nome</a:t>
            </a:r>
          </a:p>
          <a:p>
            <a:pPr marL="342900" lvl="0" indent="-342900">
              <a:spcBef>
                <a:spcPts val="275"/>
              </a:spcBef>
              <a:buSzPts val="1600"/>
              <a:buFont typeface="Franklin Gothic Medium" panose="020B0603020102020204" pitchFamily="34" charset="0"/>
              <a:buChar char="-"/>
              <a:tabLst>
                <a:tab pos="533400" algn="l"/>
                <a:tab pos="534035" algn="l"/>
              </a:tabLst>
            </a:pPr>
            <a:r>
              <a:rPr lang="it-IT" dirty="0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Punto</a:t>
            </a:r>
          </a:p>
          <a:p>
            <a:pPr marL="342900" lvl="0" indent="-342900">
              <a:spcBef>
                <a:spcPts val="275"/>
              </a:spcBef>
              <a:buSzPts val="1600"/>
              <a:buFont typeface="Franklin Gothic Medium" panose="020B0603020102020204" pitchFamily="34" charset="0"/>
              <a:buChar char="-"/>
              <a:tabLst>
                <a:tab pos="533400" algn="l"/>
                <a:tab pos="534035" algn="l"/>
              </a:tabLst>
            </a:pPr>
            <a:r>
              <a:rPr lang="it-IT" dirty="0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Il proprio cognome</a:t>
            </a:r>
          </a:p>
          <a:p>
            <a:pPr lvl="0">
              <a:spcBef>
                <a:spcPts val="270"/>
              </a:spcBef>
              <a:buSzPts val="1600"/>
              <a:tabLst>
                <a:tab pos="533400" algn="l"/>
                <a:tab pos="534035" algn="l"/>
              </a:tabLst>
            </a:pPr>
            <a:endParaRPr lang="it-IT" dirty="0">
              <a:effectLst/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lvl="0">
              <a:spcBef>
                <a:spcPts val="270"/>
              </a:spcBef>
              <a:buSzPts val="1600"/>
              <a:tabLst>
                <a:tab pos="533400" algn="l"/>
                <a:tab pos="534035" algn="l"/>
              </a:tabLst>
            </a:pPr>
            <a:r>
              <a:rPr lang="it-IT" dirty="0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Es. Mario Rossi </a:t>
            </a:r>
            <a:r>
              <a:rPr lang="it-IT" dirty="0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  <a:sym typeface="Wingdings" panose="05000000000000000000" pitchFamily="2" charset="2"/>
              </a:rPr>
              <a:t></a:t>
            </a:r>
            <a:r>
              <a:rPr lang="it-IT" dirty="0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 </a:t>
            </a:r>
            <a:r>
              <a:rPr lang="it-IT" dirty="0" err="1">
                <a:effectLst/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m.rossi</a:t>
            </a:r>
            <a:endParaRPr lang="it-IT" dirty="0"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lvl="0">
              <a:spcBef>
                <a:spcPts val="270"/>
              </a:spcBef>
              <a:buSzPts val="1600"/>
              <a:tabLst>
                <a:tab pos="533400" algn="l"/>
                <a:tab pos="534035" algn="l"/>
              </a:tabLst>
            </a:pPr>
            <a:endParaRPr lang="it-IT" dirty="0">
              <a:effectLst/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lvl="0">
              <a:spcBef>
                <a:spcPts val="270"/>
              </a:spcBef>
              <a:buSzPts val="1600"/>
              <a:tabLst>
                <a:tab pos="533400" algn="l"/>
                <a:tab pos="534035" algn="l"/>
              </a:tabLst>
            </a:pPr>
            <a:endParaRPr lang="it-IT" dirty="0">
              <a:effectLst/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  <a:p>
            <a:pPr lvl="0">
              <a:spcBef>
                <a:spcPts val="270"/>
              </a:spcBef>
              <a:buSzPts val="1600"/>
              <a:tabLst>
                <a:tab pos="533400" algn="l"/>
                <a:tab pos="534035" algn="l"/>
              </a:tabLst>
            </a:pPr>
            <a:r>
              <a:rPr lang="it-IT" dirty="0">
                <a:latin typeface="Poppins" panose="00000500000000000000" pitchFamily="2" charset="0"/>
                <a:ea typeface="Franklin Gothic Medium" panose="020B0603020102020204" pitchFamily="34" charset="0"/>
                <a:cs typeface="Poppins" panose="00000500000000000000" pitchFamily="2" charset="0"/>
              </a:rPr>
              <a:t>Al primo accesso bisognerà inserire il proprio username e cliccare su «Hai dimenticato la password?», il sistema invierà una mail con un codice di autenticazione, da utilizzare sulla piattaforma per modificare la password.</a:t>
            </a:r>
          </a:p>
          <a:p>
            <a:pPr lvl="0">
              <a:spcBef>
                <a:spcPts val="270"/>
              </a:spcBef>
              <a:buSzPts val="1600"/>
              <a:tabLst>
                <a:tab pos="533400" algn="l"/>
                <a:tab pos="534035" algn="l"/>
              </a:tabLst>
            </a:pPr>
            <a:endParaRPr lang="it-IT" dirty="0">
              <a:effectLst/>
              <a:latin typeface="Poppins" panose="00000500000000000000" pitchFamily="2" charset="0"/>
              <a:ea typeface="Franklin Gothic Medium" panose="020B0603020102020204" pitchFamily="34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72810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A6BADED0-2E0F-714E-7937-93ACB3EA33A9}"/>
              </a:ext>
            </a:extLst>
          </p:cNvPr>
          <p:cNvSpPr txBox="1"/>
          <p:nvPr/>
        </p:nvSpPr>
        <p:spPr>
          <a:xfrm>
            <a:off x="422095" y="1505541"/>
            <a:ext cx="11347810" cy="576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5000"/>
              </a:lnSpc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just">
              <a:lnSpc>
                <a:spcPct val="115000"/>
              </a:lnSpc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1154060" y="319032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</a:t>
            </a:r>
            <a:r>
              <a:rPr lang="it-IT" sz="3000" b="1">
                <a:solidFill>
                  <a:srgbClr val="00B0F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unziona il portale per le note spese?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45E68834-C1F2-0666-171D-FA9E17E25D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0534" y="1530629"/>
            <a:ext cx="9944095" cy="5008339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5F354B7F-4CFD-4990-24EB-B7A7C962A2E2}"/>
              </a:ext>
            </a:extLst>
          </p:cNvPr>
          <p:cNvSpPr txBox="1"/>
          <p:nvPr/>
        </p:nvSpPr>
        <p:spPr>
          <a:xfrm>
            <a:off x="433174" y="1197764"/>
            <a:ext cx="113367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Sulla Homepage del portale ogni dipendente trova una serie di menù con le funzionalità accessibili: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D14589F4-BA3B-2E87-3BB9-BB680D1F9EB4}"/>
              </a:ext>
            </a:extLst>
          </p:cNvPr>
          <p:cNvSpPr txBox="1"/>
          <p:nvPr/>
        </p:nvSpPr>
        <p:spPr>
          <a:xfrm>
            <a:off x="9596063" y="1530629"/>
            <a:ext cx="369870" cy="307777"/>
          </a:xfrm>
          <a:prstGeom prst="rect">
            <a:avLst/>
          </a:prstGeom>
          <a:solidFill>
            <a:srgbClr val="F7F7F7"/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1FF94877-4547-6C03-787C-26F063BA9F90}"/>
              </a:ext>
            </a:extLst>
          </p:cNvPr>
          <p:cNvSpPr/>
          <p:nvPr/>
        </p:nvSpPr>
        <p:spPr>
          <a:xfrm>
            <a:off x="1900719" y="2568539"/>
            <a:ext cx="801384" cy="1795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327D8A2-4F32-6BCD-41F1-37F898DDA6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03458" y="2884869"/>
            <a:ext cx="798645" cy="182896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D9BACA39-EDF0-67F6-DFD5-B68E423BDD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7371" y="3754131"/>
            <a:ext cx="798645" cy="18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20892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A6BADED0-2E0F-714E-7937-93ACB3EA33A9}"/>
              </a:ext>
            </a:extLst>
          </p:cNvPr>
          <p:cNvSpPr txBox="1"/>
          <p:nvPr/>
        </p:nvSpPr>
        <p:spPr>
          <a:xfrm>
            <a:off x="422095" y="1505541"/>
            <a:ext cx="11347810" cy="576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5000"/>
              </a:lnSpc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just">
              <a:lnSpc>
                <a:spcPct val="115000"/>
              </a:lnSpc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2413000" y="352276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funziona il portale </a:t>
            </a:r>
            <a:r>
              <a:rPr lang="it-IT" sz="3000" b="1" err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az</a:t>
            </a: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?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5F354B7F-4CFD-4990-24EB-B7A7C962A2E2}"/>
              </a:ext>
            </a:extLst>
          </p:cNvPr>
          <p:cNvSpPr txBox="1"/>
          <p:nvPr/>
        </p:nvSpPr>
        <p:spPr>
          <a:xfrm>
            <a:off x="5537572" y="2403690"/>
            <a:ext cx="60790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Per inserire la tue note spese dovrai cliccare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nell’icona in alto a sinistra </a:t>
            </a:r>
            <a:endParaRPr lang="it-IT" b="1" dirty="0">
              <a:latin typeface="Poppins" panose="00000500000000000000" pitchFamily="2" charset="0"/>
              <a:cs typeface="Poppins" panose="00000500000000000000" pitchFamily="2" charset="0"/>
              <a:sym typeface="Wingdings" panose="05000000000000000000" pitchFamily="2" charset="2"/>
            </a:endParaRPr>
          </a:p>
          <a:p>
            <a:endParaRPr lang="it-IT" b="1" dirty="0">
              <a:latin typeface="Poppins" panose="00000500000000000000" pitchFamily="2" charset="0"/>
              <a:cs typeface="Poppins" panose="00000500000000000000" pitchFamily="2" charset="0"/>
              <a:sym typeface="Wingdings" panose="05000000000000000000" pitchFamily="2" charset="2"/>
            </a:endParaRPr>
          </a:p>
          <a:p>
            <a:endParaRPr lang="it-IT" b="1" dirty="0">
              <a:latin typeface="Poppins" panose="00000500000000000000" pitchFamily="2" charset="0"/>
              <a:cs typeface="Poppins" panose="00000500000000000000" pitchFamily="2" charset="0"/>
              <a:sym typeface="Wingdings" panose="05000000000000000000" pitchFamily="2" charset="2"/>
            </a:endParaRPr>
          </a:p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  <a:sym typeface="Wingdings" panose="05000000000000000000" pitchFamily="2" charset="2"/>
              </a:rPr>
              <a:t>Si aprirà un menù a tendina relativo alle tue 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  <a:sym typeface="Wingdings" panose="05000000000000000000" pitchFamily="2" charset="2"/>
              </a:rPr>
              <a:t>Nota Spese</a:t>
            </a:r>
          </a:p>
          <a:p>
            <a:endParaRPr lang="it-IT" b="1" dirty="0">
              <a:latin typeface="Poppins" panose="00000500000000000000" pitchFamily="2" charset="0"/>
              <a:cs typeface="Poppins" panose="00000500000000000000" pitchFamily="2" charset="0"/>
              <a:sym typeface="Wingdings" panose="05000000000000000000" pitchFamily="2" charset="2"/>
            </a:endParaRPr>
          </a:p>
          <a:p>
            <a:endParaRPr lang="it-IT" b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Per procedere con l’inserimento clicca su «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Le mie Note Spese»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AA0DD112-6140-5B3D-22DF-3CE7957E30F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9820"/>
          <a:stretch/>
        </p:blipFill>
        <p:spPr>
          <a:xfrm>
            <a:off x="654842" y="1967551"/>
            <a:ext cx="4273770" cy="3454770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CFBDF484-4556-B528-4965-D3E8283DCB10}"/>
              </a:ext>
            </a:extLst>
          </p:cNvPr>
          <p:cNvSpPr txBox="1"/>
          <p:nvPr/>
        </p:nvSpPr>
        <p:spPr>
          <a:xfrm>
            <a:off x="575329" y="1883579"/>
            <a:ext cx="557732" cy="5201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60A89D3-5709-E28A-0A98-893611C54992}"/>
              </a:ext>
            </a:extLst>
          </p:cNvPr>
          <p:cNvSpPr txBox="1"/>
          <p:nvPr/>
        </p:nvSpPr>
        <p:spPr>
          <a:xfrm>
            <a:off x="727728" y="4426074"/>
            <a:ext cx="1836567" cy="32196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54340131-DB7B-C4C0-5583-0B0CAF95DE1F}"/>
              </a:ext>
            </a:extLst>
          </p:cNvPr>
          <p:cNvSpPr txBox="1"/>
          <p:nvPr/>
        </p:nvSpPr>
        <p:spPr>
          <a:xfrm>
            <a:off x="1717482" y="2464904"/>
            <a:ext cx="2496709" cy="64405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24660289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A6BADED0-2E0F-714E-7937-93ACB3EA33A9}"/>
              </a:ext>
            </a:extLst>
          </p:cNvPr>
          <p:cNvSpPr txBox="1"/>
          <p:nvPr/>
        </p:nvSpPr>
        <p:spPr>
          <a:xfrm>
            <a:off x="422095" y="1505541"/>
            <a:ext cx="11347810" cy="576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15000"/>
              </a:lnSpc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just">
              <a:lnSpc>
                <a:spcPct val="115000"/>
              </a:lnSpc>
            </a:pP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1236290" y="308905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posso creare una nuova nota spesa?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7A870982-33CF-A61F-1206-44732F0B47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0015" y="1329695"/>
            <a:ext cx="11771971" cy="1344841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A8D6CBC5-EFEA-E11D-4E7F-40EF6BA86BDA}"/>
              </a:ext>
            </a:extLst>
          </p:cNvPr>
          <p:cNvSpPr txBox="1"/>
          <p:nvPr/>
        </p:nvSpPr>
        <p:spPr>
          <a:xfrm>
            <a:off x="210014" y="1762709"/>
            <a:ext cx="465847" cy="3671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B468FCE0-F73A-2057-7831-A5399FA88C0D}"/>
              </a:ext>
            </a:extLst>
          </p:cNvPr>
          <p:cNvSpPr txBox="1"/>
          <p:nvPr/>
        </p:nvSpPr>
        <p:spPr>
          <a:xfrm>
            <a:off x="302826" y="3175214"/>
            <a:ext cx="1105102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Nella videata, in alto a sinistra, ti appariranno tre comandi:</a:t>
            </a:r>
          </a:p>
          <a:p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NUOVO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: per inserire un nuovo documento Nota Spe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RICERCA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: per ricercare un documento specific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AGGIORNA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: per aggiornare la griglia sottostante, che riporterà tutte le note spese inserite</a:t>
            </a:r>
            <a:endParaRPr lang="it-IT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E5D6BE54-4C6D-F397-8BFC-D3E6DD835376}"/>
              </a:ext>
            </a:extLst>
          </p:cNvPr>
          <p:cNvSpPr txBox="1"/>
          <p:nvPr/>
        </p:nvSpPr>
        <p:spPr>
          <a:xfrm>
            <a:off x="302826" y="4845444"/>
            <a:ext cx="110510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Per procedere nell’inserimento della nota spesa clicca su 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«Nuovo»</a:t>
            </a: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658202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1300099" y="305647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posso creare una nuova nota spesa?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E5D6BE54-4C6D-F397-8BFC-D3E6DD835376}"/>
              </a:ext>
            </a:extLst>
          </p:cNvPr>
          <p:cNvSpPr txBox="1"/>
          <p:nvPr/>
        </p:nvSpPr>
        <p:spPr>
          <a:xfrm>
            <a:off x="302826" y="1197764"/>
            <a:ext cx="110510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Per procedere nell’inserimento della nota spesa clicca su 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«Nuovo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», ti apparirà la seguente schermata:</a:t>
            </a: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2CBF05DA-8C39-5D08-7321-8E3E1974EB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826" y="2081724"/>
            <a:ext cx="5976466" cy="4099243"/>
          </a:xfrm>
          <a:prstGeom prst="rect">
            <a:avLst/>
          </a:prstGeom>
        </p:spPr>
      </p:pic>
      <p:sp>
        <p:nvSpPr>
          <p:cNvPr id="11" name="Rettangolo 10">
            <a:extLst>
              <a:ext uri="{FF2B5EF4-FFF2-40B4-BE49-F238E27FC236}">
                <a16:creationId xmlns:a16="http://schemas.microsoft.com/office/drawing/2014/main" id="{EA1BFAE0-4192-4215-219A-3FFB8AE7DB7C}"/>
              </a:ext>
            </a:extLst>
          </p:cNvPr>
          <p:cNvSpPr/>
          <p:nvPr/>
        </p:nvSpPr>
        <p:spPr>
          <a:xfrm>
            <a:off x="2258667" y="3955443"/>
            <a:ext cx="2865120" cy="1297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v</a:t>
            </a: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DB6C2459-CA3B-B18D-4AC4-BF51E7A860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3523" y="5476616"/>
            <a:ext cx="2889754" cy="109738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1F98B5D1-3C6E-5E75-690A-9240414B3E3B}"/>
              </a:ext>
            </a:extLst>
          </p:cNvPr>
          <p:cNvSpPr txBox="1"/>
          <p:nvPr/>
        </p:nvSpPr>
        <p:spPr>
          <a:xfrm>
            <a:off x="6633362" y="1904440"/>
            <a:ext cx="5255812" cy="4302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6200">
              <a:spcBef>
                <a:spcPts val="380"/>
              </a:spcBef>
              <a:spcAft>
                <a:spcPts val="0"/>
              </a:spcAft>
            </a:pP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1) Il sistema compilerà in automatico i campi contrassegnati con la </a:t>
            </a: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X, di cui:</a:t>
            </a:r>
          </a:p>
          <a:p>
            <a:pPr marL="76200">
              <a:spcBef>
                <a:spcPts val="380"/>
              </a:spcBef>
              <a:spcAft>
                <a:spcPts val="0"/>
              </a:spcAft>
            </a:pPr>
            <a:endParaRPr lang="it-IT" sz="1200" b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61950" indent="-285750">
              <a:spcBef>
                <a:spcPts val="380"/>
              </a:spcBef>
              <a:spcAft>
                <a:spcPts val="0"/>
              </a:spcAft>
              <a:buFontTx/>
              <a:buChar char="-"/>
            </a:pPr>
            <a:r>
              <a:rPr lang="it-IT" sz="1200" b="1" dirty="0">
                <a:solidFill>
                  <a:srgbClr val="FF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X</a:t>
            </a: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 in rosso non modificabili</a:t>
            </a:r>
          </a:p>
          <a:p>
            <a:pPr marL="361950" indent="-285750">
              <a:spcBef>
                <a:spcPts val="380"/>
              </a:spcBef>
              <a:spcAft>
                <a:spcPts val="0"/>
              </a:spcAft>
              <a:buFontTx/>
              <a:buChar char="-"/>
            </a:pPr>
            <a:r>
              <a:rPr lang="it-IT" sz="1200" b="1" dirty="0">
                <a:solidFill>
                  <a:srgbClr val="47A7D4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X</a:t>
            </a: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 in blu modificabili dal dipendente</a:t>
            </a:r>
          </a:p>
          <a:p>
            <a:pPr marL="76200">
              <a:spcBef>
                <a:spcPts val="380"/>
              </a:spcBef>
              <a:spcAft>
                <a:spcPts val="0"/>
              </a:spcAft>
            </a:pPr>
            <a:endParaRPr lang="it-IT" sz="1200" b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76200">
              <a:spcBef>
                <a:spcPts val="380"/>
              </a:spcBef>
              <a:spcAft>
                <a:spcPts val="0"/>
              </a:spcAft>
            </a:pPr>
            <a:endParaRPr lang="it-IT" sz="1200" b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76200">
              <a:spcBef>
                <a:spcPts val="380"/>
              </a:spcBef>
              <a:spcAft>
                <a:spcPts val="0"/>
              </a:spcAft>
            </a:pPr>
            <a:endParaRPr lang="it-IT" sz="1200" b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76200">
              <a:spcBef>
                <a:spcPts val="380"/>
              </a:spcBef>
              <a:spcAft>
                <a:spcPts val="0"/>
              </a:spcAft>
            </a:pPr>
            <a:endParaRPr lang="it-IT" sz="1200" b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76200" marR="106680">
              <a:lnSpc>
                <a:spcPct val="115000"/>
              </a:lnSpc>
              <a:spcBef>
                <a:spcPts val="1270"/>
              </a:spcBef>
              <a:spcAft>
                <a:spcPts val="0"/>
              </a:spcAft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Dalla Data alla Data 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è un campo che si compila in automatico con il mese corrente e </a:t>
            </a: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a partire da 1° luglio 2023 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andrà compilata con riferimento dal 1° all’ultimo giorno del mese (in questo caso, dal 1° luglio al 31 luglio), valido per ogni Legal </a:t>
            </a:r>
            <a:r>
              <a:rPr lang="it-IT" sz="1200" dirty="0" err="1">
                <a:latin typeface="Poppins" panose="00000500000000000000" pitchFamily="2" charset="0"/>
                <a:cs typeface="Poppins" panose="00000500000000000000" pitchFamily="2" charset="0"/>
              </a:rPr>
              <a:t>Entity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marL="76200" marR="106680">
              <a:lnSpc>
                <a:spcPct val="115000"/>
              </a:lnSpc>
              <a:spcBef>
                <a:spcPts val="1270"/>
              </a:spcBef>
              <a:spcAft>
                <a:spcPts val="0"/>
              </a:spcAft>
            </a:pP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È possibile inserire nel campo «Note», la descrizione della nota spese. </a:t>
            </a:r>
          </a:p>
          <a:p>
            <a:pPr marL="76200" marR="106680">
              <a:lnSpc>
                <a:spcPct val="115000"/>
              </a:lnSpc>
              <a:spcBef>
                <a:spcPts val="1270"/>
              </a:spcBef>
              <a:spcAft>
                <a:spcPts val="0"/>
              </a:spcAft>
            </a:pP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Al termine, per salvare i dati inseriti, premere il comando “</a:t>
            </a: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Salva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” (in alto, al centro della schermata).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EE8FF1D3-DD0E-8630-8101-F2E5FF3515B5}"/>
              </a:ext>
            </a:extLst>
          </p:cNvPr>
          <p:cNvSpPr/>
          <p:nvPr/>
        </p:nvSpPr>
        <p:spPr>
          <a:xfrm>
            <a:off x="2256721" y="3484221"/>
            <a:ext cx="2865120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v</a:t>
            </a:r>
          </a:p>
        </p:txBody>
      </p:sp>
      <p:pic>
        <p:nvPicPr>
          <p:cNvPr id="20" name="Immagine 19">
            <a:extLst>
              <a:ext uri="{FF2B5EF4-FFF2-40B4-BE49-F238E27FC236}">
                <a16:creationId xmlns:a16="http://schemas.microsoft.com/office/drawing/2014/main" id="{224FA293-7603-E33F-BB65-343CF9EEB9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83932" y="3095625"/>
            <a:ext cx="2889754" cy="469876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D94C28FA-7B2D-D5B6-BA23-053E9269903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44404" y="3605854"/>
            <a:ext cx="2889754" cy="393216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2E164ECD-0D7B-D510-D7CC-414F0513D3A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44404" y="4112248"/>
            <a:ext cx="2889754" cy="359695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B1F71000-6AED-5D66-29AF-2685C9BBCFA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3932" y="4374186"/>
            <a:ext cx="2889754" cy="359695"/>
          </a:xfrm>
          <a:prstGeom prst="rect">
            <a:avLst/>
          </a:prstGeom>
        </p:spPr>
      </p:pic>
      <p:pic>
        <p:nvPicPr>
          <p:cNvPr id="24" name="Immagine 23">
            <a:extLst>
              <a:ext uri="{FF2B5EF4-FFF2-40B4-BE49-F238E27FC236}">
                <a16:creationId xmlns:a16="http://schemas.microsoft.com/office/drawing/2014/main" id="{40972229-8BE1-82D2-9DF8-0A02D35593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53964" y="4866205"/>
            <a:ext cx="2889754" cy="386509"/>
          </a:xfrm>
          <a:prstGeom prst="rect">
            <a:avLst/>
          </a:prstGeom>
        </p:spPr>
      </p:pic>
      <p:pic>
        <p:nvPicPr>
          <p:cNvPr id="25" name="Immagine 24">
            <a:extLst>
              <a:ext uri="{FF2B5EF4-FFF2-40B4-BE49-F238E27FC236}">
                <a16:creationId xmlns:a16="http://schemas.microsoft.com/office/drawing/2014/main" id="{6D8AA031-1EAF-A9AD-C79C-56CC89E7CEA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53964" y="5078078"/>
            <a:ext cx="2889754" cy="469433"/>
          </a:xfrm>
          <a:prstGeom prst="rect">
            <a:avLst/>
          </a:prstGeom>
        </p:spPr>
      </p:pic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C33A4E23-5D09-CD0C-1A0C-A826511D3CB3}"/>
              </a:ext>
            </a:extLst>
          </p:cNvPr>
          <p:cNvSpPr txBox="1"/>
          <p:nvPr/>
        </p:nvSpPr>
        <p:spPr>
          <a:xfrm>
            <a:off x="2262347" y="3654556"/>
            <a:ext cx="190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>
                <a:solidFill>
                  <a:srgbClr val="00B0F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X</a:t>
            </a: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C1759BA4-8AC6-78D3-21AA-A2CFD052A8B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66597" y="3404335"/>
            <a:ext cx="262151" cy="274344"/>
          </a:xfrm>
          <a:prstGeom prst="rect">
            <a:avLst/>
          </a:prstGeom>
        </p:spPr>
      </p:pic>
      <p:pic>
        <p:nvPicPr>
          <p:cNvPr id="31" name="Immagine 30">
            <a:extLst>
              <a:ext uri="{FF2B5EF4-FFF2-40B4-BE49-F238E27FC236}">
                <a16:creationId xmlns:a16="http://schemas.microsoft.com/office/drawing/2014/main" id="{F1D3ECED-8BAC-D602-2DFD-3CF6AF6F68A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69671" y="4150284"/>
            <a:ext cx="262151" cy="274344"/>
          </a:xfrm>
          <a:prstGeom prst="rect">
            <a:avLst/>
          </a:prstGeom>
        </p:spPr>
      </p:pic>
      <p:pic>
        <p:nvPicPr>
          <p:cNvPr id="32" name="Immagine 31">
            <a:extLst>
              <a:ext uri="{FF2B5EF4-FFF2-40B4-BE49-F238E27FC236}">
                <a16:creationId xmlns:a16="http://schemas.microsoft.com/office/drawing/2014/main" id="{F1EA45AD-A528-4BF8-2B63-812351DD371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69804" y="4414443"/>
            <a:ext cx="262151" cy="274344"/>
          </a:xfrm>
          <a:prstGeom prst="rect">
            <a:avLst/>
          </a:prstGeom>
        </p:spPr>
      </p:pic>
      <p:pic>
        <p:nvPicPr>
          <p:cNvPr id="33" name="Immagine 32">
            <a:extLst>
              <a:ext uri="{FF2B5EF4-FFF2-40B4-BE49-F238E27FC236}">
                <a16:creationId xmlns:a16="http://schemas.microsoft.com/office/drawing/2014/main" id="{58394787-3A3B-C6E0-035D-91E2F67C8F9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72408" y="3180433"/>
            <a:ext cx="262151" cy="274344"/>
          </a:xfrm>
          <a:prstGeom prst="rect">
            <a:avLst/>
          </a:prstGeom>
        </p:spPr>
      </p:pic>
      <p:pic>
        <p:nvPicPr>
          <p:cNvPr id="36" name="Immagine 35">
            <a:extLst>
              <a:ext uri="{FF2B5EF4-FFF2-40B4-BE49-F238E27FC236}">
                <a16:creationId xmlns:a16="http://schemas.microsoft.com/office/drawing/2014/main" id="{B612E54C-2F63-F4BF-3428-418111513D8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53964" y="3895404"/>
            <a:ext cx="262151" cy="280440"/>
          </a:xfrm>
          <a:prstGeom prst="rect">
            <a:avLst/>
          </a:prstGeom>
        </p:spPr>
      </p:pic>
      <p:pic>
        <p:nvPicPr>
          <p:cNvPr id="37" name="Immagine 36">
            <a:extLst>
              <a:ext uri="{FF2B5EF4-FFF2-40B4-BE49-F238E27FC236}">
                <a16:creationId xmlns:a16="http://schemas.microsoft.com/office/drawing/2014/main" id="{0D16B92D-4AD0-7D12-18CE-03B401D7CD2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47144" y="2081725"/>
            <a:ext cx="506012" cy="49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66240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1203325" y="286629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posso creare una nuova nota spesa?</a:t>
            </a: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DB6C2459-CA3B-B18D-4AC4-BF51E7A860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3523" y="5476616"/>
            <a:ext cx="2889754" cy="109738"/>
          </a:xfrm>
          <a:prstGeom prst="rect">
            <a:avLst/>
          </a:prstGeom>
        </p:spPr>
      </p:pic>
      <p:sp>
        <p:nvSpPr>
          <p:cNvPr id="19" name="Rettangolo 18">
            <a:extLst>
              <a:ext uri="{FF2B5EF4-FFF2-40B4-BE49-F238E27FC236}">
                <a16:creationId xmlns:a16="http://schemas.microsoft.com/office/drawing/2014/main" id="{EE8FF1D3-DD0E-8630-8101-F2E5FF3515B5}"/>
              </a:ext>
            </a:extLst>
          </p:cNvPr>
          <p:cNvSpPr/>
          <p:nvPr/>
        </p:nvSpPr>
        <p:spPr>
          <a:xfrm>
            <a:off x="2256721" y="3484221"/>
            <a:ext cx="2865120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v</a:t>
            </a:r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2E164ECD-0D7B-D510-D7CC-414F0513D3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3523" y="4096824"/>
            <a:ext cx="2889754" cy="359695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436495" y="1303469"/>
            <a:ext cx="1115964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2) 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Prima 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di poter inserire le spese sostenute, sarà necessario inserire la «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Destinazione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», le destinazioni possono essere.</a:t>
            </a:r>
          </a:p>
          <a:p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Nazionali (es. dipende assunto su Rivoli che mangia Torino)</a:t>
            </a:r>
          </a:p>
          <a:p>
            <a:pPr marL="285750" indent="-285750">
              <a:buFontTx/>
              <a:buChar char="-"/>
            </a:pP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Comunali (es. dipendente di Milano che mangia a Milano)</a:t>
            </a:r>
          </a:p>
          <a:p>
            <a:pPr marL="285750" indent="-285750">
              <a:buFontTx/>
              <a:buChar char="-"/>
            </a:pP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Estere (es. trasferta in Spagna)</a:t>
            </a:r>
          </a:p>
          <a:p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Il sistema creerà in automatico la destinazione 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NAZIONALE</a:t>
            </a:r>
            <a:endParaRPr lang="it-IT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1" name="Rectangle 15">
            <a:extLst>
              <a:ext uri="{FF2B5EF4-FFF2-40B4-BE49-F238E27FC236}">
                <a16:creationId xmlns:a16="http://schemas.microsoft.com/office/drawing/2014/main" id="{5845E4E6-CBF8-28BC-CA95-54B7E5A0F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54217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47C670EF-2659-D85E-83E8-FB38ABC233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6495" y="3308722"/>
            <a:ext cx="11270526" cy="1754763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528B8DD3-0641-E70D-CE2C-09FC1B5BEEA3}"/>
              </a:ext>
            </a:extLst>
          </p:cNvPr>
          <p:cNvSpPr txBox="1"/>
          <p:nvPr/>
        </p:nvSpPr>
        <p:spPr>
          <a:xfrm>
            <a:off x="436495" y="4264655"/>
            <a:ext cx="11319010" cy="87884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968472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1203325" y="286629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e posso creare una nuova nota spesa?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EE8FF1D3-DD0E-8630-8101-F2E5FF3515B5}"/>
              </a:ext>
            </a:extLst>
          </p:cNvPr>
          <p:cNvSpPr/>
          <p:nvPr/>
        </p:nvSpPr>
        <p:spPr>
          <a:xfrm>
            <a:off x="2256721" y="3484221"/>
            <a:ext cx="2865120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v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F1D467C-D281-B466-F3E9-0CF3FBCE7F46}"/>
              </a:ext>
            </a:extLst>
          </p:cNvPr>
          <p:cNvSpPr txBox="1"/>
          <p:nvPr/>
        </p:nvSpPr>
        <p:spPr>
          <a:xfrm>
            <a:off x="323693" y="1066990"/>
            <a:ext cx="111596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In base alle tue esigenze dovrai inserire (cliccando + Nuovo in alto a sinistra) la destinazione 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COMUNALE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 o </a:t>
            </a:r>
            <a:r>
              <a:rPr lang="it-IT" b="1">
                <a:latin typeface="Poppins" panose="00000500000000000000" pitchFamily="2" charset="0"/>
                <a:cs typeface="Poppins" panose="00000500000000000000" pitchFamily="2" charset="0"/>
              </a:rPr>
              <a:t>ESTERA</a:t>
            </a:r>
            <a:r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, in aggiunta a quella NAZIONALE creata in automatico dal sistema. 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55CEB1BD-0D3B-8565-9767-89B063D105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693" y="1836347"/>
            <a:ext cx="11544613" cy="1975291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30F22DC3-295A-C265-5C7B-9498D2898BC4}"/>
              </a:ext>
            </a:extLst>
          </p:cNvPr>
          <p:cNvSpPr txBox="1"/>
          <p:nvPr/>
        </p:nvSpPr>
        <p:spPr>
          <a:xfrm>
            <a:off x="323693" y="2371725"/>
            <a:ext cx="552607" cy="48457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90DCD432-8533-4669-B010-660C2D4D08C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42" r="68498" b="44102"/>
          <a:stretch/>
        </p:blipFill>
        <p:spPr>
          <a:xfrm>
            <a:off x="323693" y="4504170"/>
            <a:ext cx="3438682" cy="1590675"/>
          </a:xfrm>
          <a:prstGeom prst="rect">
            <a:avLst/>
          </a:prstGeom>
        </p:spPr>
      </p:pic>
      <p:sp>
        <p:nvSpPr>
          <p:cNvPr id="14" name="Freccia in giù 13">
            <a:extLst>
              <a:ext uri="{FF2B5EF4-FFF2-40B4-BE49-F238E27FC236}">
                <a16:creationId xmlns:a16="http://schemas.microsoft.com/office/drawing/2014/main" id="{BF4893D1-5BB3-0581-85B7-9E9C109FA1FD}"/>
              </a:ext>
            </a:extLst>
          </p:cNvPr>
          <p:cNvSpPr/>
          <p:nvPr/>
        </p:nvSpPr>
        <p:spPr>
          <a:xfrm>
            <a:off x="304643" y="2876943"/>
            <a:ext cx="143032" cy="1590675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4235CC9A-5CF6-500A-FA1E-4AED01FC94E2}"/>
              </a:ext>
            </a:extLst>
          </p:cNvPr>
          <p:cNvSpPr txBox="1"/>
          <p:nvPr/>
        </p:nvSpPr>
        <p:spPr>
          <a:xfrm>
            <a:off x="4131317" y="4504170"/>
            <a:ext cx="760372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Nota bene: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il periodo della destinazione dovrà essere lo stesso della nota spesa di riferimento.</a:t>
            </a: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89176E42-D1A4-E966-A57A-45CE5A204C08}"/>
              </a:ext>
            </a:extLst>
          </p:cNvPr>
          <p:cNvSpPr txBox="1"/>
          <p:nvPr/>
        </p:nvSpPr>
        <p:spPr>
          <a:xfrm>
            <a:off x="1876425" y="5572125"/>
            <a:ext cx="1952625" cy="52272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F6431279-27DB-A6FD-1F31-823108DFD095}"/>
              </a:ext>
            </a:extLst>
          </p:cNvPr>
          <p:cNvSpPr txBox="1"/>
          <p:nvPr/>
        </p:nvSpPr>
        <p:spPr>
          <a:xfrm>
            <a:off x="1885950" y="3263501"/>
            <a:ext cx="1343025" cy="47029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13439536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4FDCC8E-C9CF-4F1D-8046-6FCFDF43A0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4FDCC8E-C9CF-4F1D-8046-6FCFDF43A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214;p12">
            <a:extLst>
              <a:ext uri="{FF2B5EF4-FFF2-40B4-BE49-F238E27FC236}">
                <a16:creationId xmlns:a16="http://schemas.microsoft.com/office/drawing/2014/main" id="{BAB44A8A-4077-D6B8-D8D4-E4B77DA1F21B}"/>
              </a:ext>
            </a:extLst>
          </p:cNvPr>
          <p:cNvSpPr txBox="1">
            <a:spLocks/>
          </p:cNvSpPr>
          <p:nvPr/>
        </p:nvSpPr>
        <p:spPr>
          <a:xfrm>
            <a:off x="-79513" y="1765572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50000"/>
              </a:lnSpc>
              <a:buSzPts val="1800"/>
            </a:pPr>
            <a:r>
              <a:rPr lang="it-IT" sz="30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Hai creato la tua prima nota spesa!</a:t>
            </a:r>
          </a:p>
          <a:p>
            <a:pPr algn="ctr">
              <a:lnSpc>
                <a:spcPct val="150000"/>
              </a:lnSpc>
              <a:buSzPts val="1800"/>
            </a:pPr>
            <a:r>
              <a:rPr lang="it-IT" sz="1600" dirty="0">
                <a:latin typeface="Poppins" panose="00000500000000000000" pitchFamily="2" charset="0"/>
                <a:cs typeface="Poppins" panose="00000500000000000000" pitchFamily="2" charset="0"/>
              </a:rPr>
              <a:t>Adesso hai due possibilità per compilarla:</a:t>
            </a:r>
          </a:p>
          <a:p>
            <a:pPr algn="ctr">
              <a:lnSpc>
                <a:spcPct val="150000"/>
              </a:lnSpc>
              <a:buSzPts val="1800"/>
            </a:pPr>
            <a:endParaRPr lang="it-IT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 algn="ctr">
              <a:lnSpc>
                <a:spcPct val="150000"/>
              </a:lnSpc>
              <a:buSzPts val="1800"/>
              <a:buFontTx/>
              <a:buChar char="-"/>
            </a:pPr>
            <a:r>
              <a:rPr lang="it-IT" sz="1600" dirty="0">
                <a:latin typeface="Poppins" panose="00000500000000000000" pitchFamily="2" charset="0"/>
                <a:cs typeface="Poppins" panose="00000500000000000000" pitchFamily="2" charset="0"/>
              </a:rPr>
              <a:t>Scaricare l’App Mobile </a:t>
            </a:r>
          </a:p>
          <a:p>
            <a:pPr marL="285750" indent="-285750" algn="ctr">
              <a:lnSpc>
                <a:spcPct val="150000"/>
              </a:lnSpc>
              <a:buSzPts val="1800"/>
              <a:buFontTx/>
              <a:buChar char="-"/>
            </a:pPr>
            <a:r>
              <a:rPr lang="it-IT" sz="1600" dirty="0">
                <a:latin typeface="Poppins" panose="00000500000000000000" pitchFamily="2" charset="0"/>
                <a:cs typeface="Poppins" panose="00000500000000000000" pitchFamily="2" charset="0"/>
              </a:rPr>
              <a:t>Continuare sul portale</a:t>
            </a:r>
          </a:p>
          <a:p>
            <a:pPr marL="285750" indent="-285750" algn="ctr">
              <a:lnSpc>
                <a:spcPct val="150000"/>
              </a:lnSpc>
              <a:buSzPts val="1800"/>
              <a:buFontTx/>
              <a:buChar char="-"/>
            </a:pPr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90276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RETEX">
      <a:dk1>
        <a:srgbClr val="333333"/>
      </a:dk1>
      <a:lt1>
        <a:srgbClr val="FFFFFF"/>
      </a:lt1>
      <a:dk2>
        <a:srgbClr val="1C4586"/>
      </a:dk2>
      <a:lt2>
        <a:srgbClr val="E7E6E6"/>
      </a:lt2>
      <a:accent1>
        <a:srgbClr val="80E0A7"/>
      </a:accent1>
      <a:accent2>
        <a:srgbClr val="2CCCD3"/>
      </a:accent2>
      <a:accent3>
        <a:srgbClr val="4C9FC8"/>
      </a:accent3>
      <a:accent4>
        <a:srgbClr val="1C4586"/>
      </a:accent4>
      <a:accent5>
        <a:srgbClr val="9578D3"/>
      </a:accent5>
      <a:accent6>
        <a:srgbClr val="E1E868"/>
      </a:accent6>
      <a:hlink>
        <a:srgbClr val="2BD4C4"/>
      </a:hlink>
      <a:folHlink>
        <a:srgbClr val="9578D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ec9dc1f-7a1d-40f4-a75d-435257560b08" xsi:nil="true"/>
    <lcf76f155ced4ddcb4097134ff3c332f xmlns="a53e6eff-38bb-4151-86da-a930cce3518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1FAC6A0492A9B44A7F4E810A7C71CCA" ma:contentTypeVersion="14" ma:contentTypeDescription="Creare un nuovo documento." ma:contentTypeScope="" ma:versionID="ac7fa3f892b2ede0361161e2c1b583f0">
  <xsd:schema xmlns:xsd="http://www.w3.org/2001/XMLSchema" xmlns:xs="http://www.w3.org/2001/XMLSchema" xmlns:p="http://schemas.microsoft.com/office/2006/metadata/properties" xmlns:ns2="5ec9dc1f-7a1d-40f4-a75d-435257560b08" xmlns:ns3="a53e6eff-38bb-4151-86da-a930cce35181" targetNamespace="http://schemas.microsoft.com/office/2006/metadata/properties" ma:root="true" ma:fieldsID="95938cc26f69241f5e624883f2123664" ns2:_="" ns3:_="">
    <xsd:import namespace="5ec9dc1f-7a1d-40f4-a75d-435257560b08"/>
    <xsd:import namespace="a53e6eff-38bb-4151-86da-a930cce3518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c9dc1f-7a1d-40f4-a75d-435257560b0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285c3888-8698-4692-9a19-691e34d1425d}" ma:internalName="TaxCatchAll" ma:showField="CatchAllData" ma:web="5ec9dc1f-7a1d-40f4-a75d-435257560b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3e6eff-38bb-4151-86da-a930cce351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Tag immagine" ma:readOnly="false" ma:fieldId="{5cf76f15-5ced-4ddc-b409-7134ff3c332f}" ma:taxonomyMulti="true" ma:sspId="47cac4b7-b69d-4a39-85a7-016965ba31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731D892-B821-47F0-AC16-467EE9072BBD}">
  <ds:schemaRefs>
    <ds:schemaRef ds:uri="http://schemas.microsoft.com/office/2006/metadata/properties"/>
    <ds:schemaRef ds:uri="http://schemas.microsoft.com/office/infopath/2007/PartnerControls"/>
    <ds:schemaRef ds:uri="5ec9dc1f-7a1d-40f4-a75d-435257560b08"/>
    <ds:schemaRef ds:uri="a53e6eff-38bb-4151-86da-a930cce35181"/>
  </ds:schemaRefs>
</ds:datastoreItem>
</file>

<file path=customXml/itemProps2.xml><?xml version="1.0" encoding="utf-8"?>
<ds:datastoreItem xmlns:ds="http://schemas.openxmlformats.org/officeDocument/2006/customXml" ds:itemID="{AA730537-062B-42C3-9212-0FB06109C21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D5C8F0F-A6B8-4794-B6B7-C37E216B11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ec9dc1f-7a1d-40f4-a75d-435257560b08"/>
    <ds:schemaRef ds:uri="a53e6eff-38bb-4151-86da-a930cce351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a6eb597-369a-4930-84c5-101d079358d0}" enabled="1" method="Standard" siteId="{1f991ab0-af89-4a9a-b74d-b0b5bcb487c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FAQ Maternità - Paternità</Template>
  <TotalTime>207</TotalTime>
  <Words>1419</Words>
  <Application>Microsoft Office PowerPoint</Application>
  <PresentationFormat>Widescreen</PresentationFormat>
  <Paragraphs>139</Paragraphs>
  <Slides>19</Slides>
  <Notes>1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Cover</vt:lpstr>
      <vt:lpstr>NOTA SPES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OTA SPE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Q   Maternità - Paternità</dc:title>
  <dc:creator>Marialuisa Pes</dc:creator>
  <cp:lastModifiedBy>Marialuisa Pes</cp:lastModifiedBy>
  <cp:revision>4</cp:revision>
  <dcterms:created xsi:type="dcterms:W3CDTF">2023-04-17T08:25:12Z</dcterms:created>
  <dcterms:modified xsi:type="dcterms:W3CDTF">2024-01-25T09:0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FAC6A0492A9B44A7F4E810A7C71CCA</vt:lpwstr>
  </property>
  <property fmtid="{D5CDD505-2E9C-101B-9397-08002B2CF9AE}" pid="3" name="MediaServiceImageTags">
    <vt:lpwstr/>
  </property>
</Properties>
</file>